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diagrams/drawing2.xml" ContentType="application/vnd.ms-office.drawingml.diagramDrawing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23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3.xml" ContentType="application/vnd.ms-office.chartstyle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notesSlides/notesSlide1.xml" ContentType="application/vnd.openxmlformats-officedocument.presentationml.notesSlide+xml"/>
  <Override PartName="/ppt/charts/style1.xml" ContentType="application/vnd.ms-office.chartstyle+xml"/>
  <Override PartName="/ppt/diagrams/drawing3.xml" ContentType="application/vnd.ms-office.drawingml.diagramDrawing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theme/themeOverride4.xml" ContentType="application/vnd.openxmlformats-officedocument.themeOverride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charts/colors1.xml" ContentType="application/vnd.ms-office.chartcolorstyle+xml"/>
  <Default Extension="vml" ContentType="application/vnd.openxmlformats-officedocument.vmlDrawing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diagrams/layout2.xml" ContentType="application/vnd.openxmlformats-officedocument.drawingml.diagramLayout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charts/chart4.xml" ContentType="application/vnd.openxmlformats-officedocument.drawingml.chart+xml"/>
  <Override PartName="/ppt/diagrams/data3.xml" ContentType="application/vnd.openxmlformats-officedocument.drawingml.diagramData+xml"/>
  <Override PartName="/ppt/slideMasters/slideMaster5.xml" ContentType="application/vnd.openxmlformats-officedocument.presentationml.slideMaster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ppt/diagrams/data1.xml" ContentType="application/vnd.openxmlformats-officedocument.drawingml.diagramData+xml"/>
  <Override PartName="/ppt/charts/chart2.xml" ContentType="application/vnd.openxmlformats-officedocument.drawingml.chart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Override3.xml" ContentType="application/vnd.openxmlformats-officedocument.themeOverr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diagrams/layout3.xml" ContentType="application/vnd.openxmlformats-officedocument.drawingml.diagramLayout+xml"/>
  <Override PartName="/ppt/slideMasters/slideMaster6.xml" ContentType="application/vnd.openxmlformats-officedocument.presentationml.slideMaster+xml"/>
  <Override PartName="/ppt/theme/theme8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  <p:sldMasterId id="2147483663" r:id="rId5"/>
    <p:sldMasterId id="2147483668" r:id="rId6"/>
    <p:sldMasterId id="2147483672" r:id="rId7"/>
    <p:sldMasterId id="2147483676" r:id="rId8"/>
    <p:sldMasterId id="2147483680" r:id="rId9"/>
  </p:sldMasterIdLst>
  <p:notesMasterIdLst>
    <p:notesMasterId r:id="rId36"/>
  </p:notesMasterIdLst>
  <p:handoutMasterIdLst>
    <p:handoutMasterId r:id="rId37"/>
  </p:handoutMasterIdLst>
  <p:sldIdLst>
    <p:sldId id="308" r:id="rId10"/>
    <p:sldId id="331" r:id="rId11"/>
    <p:sldId id="332" r:id="rId12"/>
    <p:sldId id="306" r:id="rId13"/>
    <p:sldId id="325" r:id="rId14"/>
    <p:sldId id="311" r:id="rId15"/>
    <p:sldId id="316" r:id="rId16"/>
    <p:sldId id="324" r:id="rId17"/>
    <p:sldId id="350" r:id="rId18"/>
    <p:sldId id="348" r:id="rId19"/>
    <p:sldId id="326" r:id="rId20"/>
    <p:sldId id="351" r:id="rId21"/>
    <p:sldId id="345" r:id="rId22"/>
    <p:sldId id="333" r:id="rId23"/>
    <p:sldId id="341" r:id="rId24"/>
    <p:sldId id="342" r:id="rId25"/>
    <p:sldId id="343" r:id="rId26"/>
    <p:sldId id="340" r:id="rId27"/>
    <p:sldId id="352" r:id="rId28"/>
    <p:sldId id="353" r:id="rId29"/>
    <p:sldId id="346" r:id="rId30"/>
    <p:sldId id="319" r:id="rId31"/>
    <p:sldId id="347" r:id="rId32"/>
    <p:sldId id="349" r:id="rId33"/>
    <p:sldId id="323" r:id="rId34"/>
    <p:sldId id="330" r:id="rId35"/>
  </p:sldIdLst>
  <p:sldSz cx="12192000" cy="6858000"/>
  <p:notesSz cx="6797675" cy="9928225"/>
  <p:custDataLst>
    <p:tags r:id="rId3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06137"/>
    <a:srgbClr val="177B57"/>
    <a:srgbClr val="5BAD82"/>
    <a:srgbClr val="F2F2F2"/>
    <a:srgbClr val="BCDEC2"/>
    <a:srgbClr val="20562E"/>
    <a:srgbClr val="000000"/>
    <a:srgbClr val="4D4D4D"/>
    <a:srgbClr val="8080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8882" autoAdjust="0"/>
    <p:restoredTop sz="86410" autoAdjust="0"/>
  </p:normalViewPr>
  <p:slideViewPr>
    <p:cSldViewPr snapToGrid="0" snapToObjects="1" showGuides="1">
      <p:cViewPr>
        <p:scale>
          <a:sx n="100" d="100"/>
          <a:sy n="100" d="100"/>
        </p:scale>
        <p:origin x="-58" y="-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>
      <p:cViewPr varScale="1">
        <p:scale>
          <a:sx n="60" d="100"/>
          <a:sy n="60" d="100"/>
        </p:scale>
        <p:origin x="3202" y="58"/>
      </p:cViewPr>
      <p:guideLst>
        <p:guide orient="horz" pos="3127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Hq-vgvx-pd-i0\HQ-GINSC-FS-I1\Technical%20Files\Actuarial%20Shared%20Folder\Market%20Analysis\Actuarial%20Resources\Analysis\20180115%20Actuarial%20Resources%20Analysis%20v6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2.xml"/><Relationship Id="rId4" Type="http://schemas.microsoft.com/office/2011/relationships/chartColorStyle" Target="colors1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openxmlformats.org/officeDocument/2006/relationships/package" Target="../embeddings/Microsoft_Office_Excel_Worksheet2.xlsx"/><Relationship Id="rId1" Type="http://schemas.openxmlformats.org/officeDocument/2006/relationships/themeOverride" Target="../theme/themeOverride3.xml"/><Relationship Id="rId4" Type="http://schemas.microsoft.com/office/2011/relationships/chartColorStyle" Target="colors2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openxmlformats.org/officeDocument/2006/relationships/package" Target="../embeddings/Microsoft_Office_Excel_Worksheet3.xlsx"/><Relationship Id="rId1" Type="http://schemas.openxmlformats.org/officeDocument/2006/relationships/themeOverride" Target="../theme/themeOverride4.xml"/><Relationship Id="rId4" Type="http://schemas.microsoft.com/office/2011/relationships/chartColorStyle" Target="colors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2400" b="1" i="0" u="none" strike="noStrike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rgbClr val="106137"/>
                </a:solidFill>
              </a:rPr>
              <a:t>Actuarial Resources</a:t>
            </a:r>
          </a:p>
        </c:rich>
      </c:tx>
      <c:layout/>
      <c:spPr>
        <a:noFill/>
        <a:ln w="19050">
          <a:solidFill>
            <a:srgbClr val="106137"/>
          </a:solidFill>
        </a:ln>
        <a:effectLst/>
      </c:spPr>
    </c:title>
    <c:plotArea>
      <c:layout/>
      <c:pieChart>
        <c:varyColors val="1"/>
        <c:ser>
          <c:idx val="0"/>
          <c:order val="0"/>
          <c:tx>
            <c:strRef>
              <c:f>Sheet3!$J$213</c:f>
              <c:strCache>
                <c:ptCount val="1"/>
                <c:pt idx="0">
                  <c:v>Actuarial Resources</c:v>
                </c:pt>
              </c:strCache>
            </c:strRef>
          </c:tx>
          <c:dPt>
            <c:idx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FF1-46BB-AC58-3FC4FF3358BF}"/>
              </c:ext>
            </c:extLst>
          </c:dPt>
          <c:dPt>
            <c:idx val="1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FF1-46BB-AC58-3FC4FF3358BF}"/>
              </c:ext>
            </c:extLst>
          </c:dPt>
          <c:dPt>
            <c:idx val="2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0FF1-46BB-AC58-3FC4FF3358BF}"/>
              </c:ext>
            </c:extLst>
          </c:dPt>
          <c:dPt>
            <c:idx val="3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0FF1-46BB-AC58-3FC4FF3358BF}"/>
              </c:ext>
            </c:extLst>
          </c:dPt>
          <c:dPt>
            <c:idx val="4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0FF1-46BB-AC58-3FC4FF3358BF}"/>
              </c:ext>
            </c:extLst>
          </c:dPt>
          <c:dPt>
            <c:idx val="5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0FF1-46BB-AC58-3FC4FF3358BF}"/>
              </c:ext>
            </c:extLst>
          </c:dPt>
          <c:dPt>
            <c:idx val="6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0FF1-46BB-AC58-3FC4FF3358BF}"/>
              </c:ext>
            </c:extLst>
          </c:dPt>
          <c:dPt>
            <c:idx val="7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0FF1-46BB-AC58-3FC4FF3358BF}"/>
              </c:ext>
            </c:extLst>
          </c:dPt>
          <c:dPt>
            <c:idx val="8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0FF1-46BB-AC58-3FC4FF3358BF}"/>
              </c:ext>
            </c:extLst>
          </c:dPt>
          <c:dLbls>
            <c:dLbl>
              <c:idx val="1"/>
              <c:layout>
                <c:manualLayout>
                  <c:x val="1.05936343816225E-2"/>
                  <c:y val="1.2336835634687503E-2"/>
                </c:manualLayout>
              </c:layout>
              <c:dLblPos val="bestFit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FF1-46BB-AC58-3FC4FF3358B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lang="en-US"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3!$I$214:$I$222</c:f>
              <c:strCache>
                <c:ptCount val="9"/>
                <c:pt idx="0">
                  <c:v>Actuarial</c:v>
                </c:pt>
                <c:pt idx="1">
                  <c:v>Medical</c:v>
                </c:pt>
                <c:pt idx="2">
                  <c:v>Planning &amp; Control</c:v>
                </c:pt>
                <c:pt idx="3">
                  <c:v>Pricing</c:v>
                </c:pt>
                <c:pt idx="4">
                  <c:v>Risk Management</c:v>
                </c:pt>
                <c:pt idx="5">
                  <c:v>Technical</c:v>
                </c:pt>
                <c:pt idx="6">
                  <c:v>Underwriting</c:v>
                </c:pt>
                <c:pt idx="7">
                  <c:v>Finance</c:v>
                </c:pt>
                <c:pt idx="8">
                  <c:v>Reinsurance</c:v>
                </c:pt>
              </c:strCache>
            </c:strRef>
          </c:cat>
          <c:val>
            <c:numRef>
              <c:f>Sheet3!$J$214:$J$222</c:f>
              <c:numCache>
                <c:formatCode>0%</c:formatCode>
                <c:ptCount val="9"/>
                <c:pt idx="0">
                  <c:v>0.63636363636363613</c:v>
                </c:pt>
                <c:pt idx="1">
                  <c:v>1.8181818181818202E-2</c:v>
                </c:pt>
                <c:pt idx="2">
                  <c:v>1.8181818181818202E-2</c:v>
                </c:pt>
                <c:pt idx="3">
                  <c:v>3.6363636363636404E-2</c:v>
                </c:pt>
                <c:pt idx="4">
                  <c:v>5.4545454545454508E-2</c:v>
                </c:pt>
                <c:pt idx="5">
                  <c:v>3.6363636363636404E-2</c:v>
                </c:pt>
                <c:pt idx="6">
                  <c:v>0.12727272727272698</c:v>
                </c:pt>
                <c:pt idx="7">
                  <c:v>1.8181818181818202E-2</c:v>
                </c:pt>
                <c:pt idx="8">
                  <c:v>5.454545454545450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0FF1-46BB-AC58-3FC4FF3358BF}"/>
            </c:ext>
          </c:extLst>
        </c:ser>
        <c:dLbls>
          <c:showVal val="1"/>
        </c:dLbls>
        <c:firstSliceAng val="0"/>
      </c:pieChart>
      <c:spPr>
        <a:noFill/>
        <a:ln>
          <a:noFill/>
        </a:ln>
        <a:effectLst/>
      </c:spPr>
    </c:plotArea>
    <c:legend>
      <c:legendPos val="l"/>
      <c:layout>
        <c:manualLayout>
          <c:xMode val="edge"/>
          <c:yMode val="edge"/>
          <c:x val="9.0802580413907232E-3"/>
          <c:y val="0.14037900701878497"/>
          <c:w val="0.24772111739129204"/>
          <c:h val="0.71503502787056306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80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ar-SA"/>
        </a:p>
      </c:txPr>
    </c:legend>
    <c:plotVisOnly val="1"/>
    <c:dispBlanksAs val="zero"/>
  </c:chart>
  <c:spPr>
    <a:solidFill>
      <a:srgbClr val="FFFFFF"/>
    </a:solidFill>
    <a:ln w="28575" cap="flat" cmpd="sng" algn="ctr">
      <a:solidFill>
        <a:srgbClr val="106137"/>
      </a:solidFill>
      <a:prstDash val="solid"/>
      <a:miter lim="800000"/>
    </a:ln>
    <a:effectLst/>
  </c:spPr>
  <c:txPr>
    <a:bodyPr/>
    <a:lstStyle/>
    <a:p>
      <a:pPr>
        <a:defRPr>
          <a:solidFill>
            <a:srgbClr val="000000"/>
          </a:solidFill>
          <a:latin typeface="+mn-lt"/>
          <a:ea typeface="+mn-ea"/>
          <a:cs typeface="+mn-cs"/>
        </a:defRPr>
      </a:pPr>
      <a:endParaRPr lang="ar-SA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1" i="0" u="none" strike="noStrike" kern="1200" cap="all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/>
              <a:t>GWP (9M 2017)</a:t>
            </a:r>
            <a:endParaRPr lang="en-US" dirty="0"/>
          </a:p>
        </c:rich>
      </c:tx>
      <c:layout>
        <c:manualLayout>
          <c:xMode val="edge"/>
          <c:yMode val="edge"/>
          <c:x val="0.48554233238219302"/>
          <c:y val="2.8235906302841209E-3"/>
        </c:manualLayout>
      </c:layout>
      <c:spPr>
        <a:noFill/>
        <a:ln>
          <a:noFill/>
        </a:ln>
        <a:effectLst/>
      </c:spPr>
    </c:title>
    <c:plotArea>
      <c:layout/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GWP</c:v>
                </c:pt>
              </c:strCache>
            </c:strRef>
          </c:tx>
          <c:explosion val="1"/>
          <c:dPt>
            <c:idx val="0"/>
            <c:spPr>
              <a:solidFill>
                <a:schemeClr val="accent1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37D-4018-99F5-E45268E25930}"/>
              </c:ext>
            </c:extLst>
          </c:dPt>
          <c:dPt>
            <c:idx val="1"/>
            <c:spPr>
              <a:solidFill>
                <a:schemeClr val="accent2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37D-4018-99F5-E45268E25930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37D-4018-99F5-E45268E25930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37D-4018-99F5-E45268E25930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200" b="1" i="0" u="none" strike="noStrike" kern="1200" spc="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SA"/>
                </a:p>
              </c:txPr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200" b="1" i="0" u="none" strike="noStrike" kern="1200" spc="0" baseline="0">
                      <a:solidFill>
                        <a:schemeClr val="accent3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SA"/>
                </a:p>
              </c:txPr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en-US" sz="1200" b="1" i="0" u="none" strike="noStrike" kern="1200" spc="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ar-SA"/>
                </a:p>
              </c:txPr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200" b="1" i="0" u="none" strike="noStrike" kern="1200" spc="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showCatName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B$1:$E$1</c:f>
              <c:strCache>
                <c:ptCount val="4"/>
                <c:pt idx="0">
                  <c:v>Life Insurance</c:v>
                </c:pt>
                <c:pt idx="1">
                  <c:v>Health Insurance</c:v>
                </c:pt>
                <c:pt idx="2">
                  <c:v>Motor Insurance</c:v>
                </c:pt>
                <c:pt idx="3">
                  <c:v>General Insurance</c:v>
                </c:pt>
              </c:strCache>
            </c:strRef>
          </c:cat>
          <c:val>
            <c:numRef>
              <c:f>Sheet1!$B$2:$E$2</c:f>
              <c:numCache>
                <c:formatCode>0%</c:formatCode>
                <c:ptCount val="4"/>
                <c:pt idx="0">
                  <c:v>3.0000000000000002E-2</c:v>
                </c:pt>
                <c:pt idx="1">
                  <c:v>0.53</c:v>
                </c:pt>
                <c:pt idx="2">
                  <c:v>0.32000000000000006</c:v>
                </c:pt>
                <c:pt idx="3">
                  <c:v>0.12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837D-4018-99F5-E45268E25930}"/>
            </c:ext>
          </c:extLst>
        </c:ser>
        <c:dLbls>
          <c:showVal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zero"/>
  </c:chart>
  <c:spPr>
    <a:noFill/>
    <a:ln w="28575">
      <a:solidFill>
        <a:srgbClr val="BCDEC2">
          <a:lumMod val="50000"/>
        </a:srgbClr>
      </a:solidFill>
    </a:ln>
    <a:effectLst/>
  </c:spPr>
  <c:txPr>
    <a:bodyPr/>
    <a:lstStyle/>
    <a:p>
      <a:pPr>
        <a:defRPr/>
      </a:pPr>
      <a:endParaRPr lang="ar-SA"/>
    </a:p>
  </c:txPr>
  <c:externalData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GWP </a:t>
            </a:r>
            <a:r>
              <a:rPr lang="en-US" dirty="0" smtClean="0"/>
              <a:t>Growth (compare</a:t>
            </a:r>
            <a:r>
              <a:rPr lang="en-US" baseline="0" dirty="0" smtClean="0"/>
              <a:t>d to last year)</a:t>
            </a:r>
            <a:endParaRPr lang="en-US" dirty="0"/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GWP Growt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1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BAA-40C7-A1E0-46697CC2F7CD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BAA-40C7-A1E0-46697CC2F7CD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BAA-40C7-A1E0-46697CC2F7CD}"/>
              </c:ext>
            </c:extLst>
          </c:dPt>
          <c:dPt>
            <c:idx val="4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BAA-40C7-A1E0-46697CC2F7C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Life Insurance</c:v>
                </c:pt>
                <c:pt idx="1">
                  <c:v>Health Insurance</c:v>
                </c:pt>
                <c:pt idx="2">
                  <c:v>Motor Insurance</c:v>
                </c:pt>
                <c:pt idx="3">
                  <c:v>General Insurance</c:v>
                </c:pt>
                <c:pt idx="4">
                  <c:v>Total</c:v>
                </c:pt>
              </c:strCache>
            </c:strRef>
          </c:cat>
          <c:val>
            <c:numRef>
              <c:f>Sheet1!$B$3:$F$3</c:f>
              <c:numCache>
                <c:formatCode>0.0%</c:formatCode>
                <c:ptCount val="5"/>
                <c:pt idx="0">
                  <c:v>1.3000000000000003E-2</c:v>
                </c:pt>
                <c:pt idx="1">
                  <c:v>3.1000000000000003E-2</c:v>
                </c:pt>
                <c:pt idx="2">
                  <c:v>-6.6000000000000003E-2</c:v>
                </c:pt>
                <c:pt idx="3">
                  <c:v>-4.6000000000000006E-2</c:v>
                </c:pt>
                <c:pt idx="4">
                  <c:v>-1.2000000000000002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ABAA-40C7-A1E0-46697CC2F7CD}"/>
            </c:ext>
          </c:extLst>
        </c:ser>
        <c:dLbls/>
        <c:gapWidth val="219"/>
        <c:overlap val="-27"/>
        <c:axId val="122283904"/>
        <c:axId val="122285440"/>
      </c:barChart>
      <c:catAx>
        <c:axId val="122283904"/>
        <c:scaling>
          <c:orientation val="minMax"/>
        </c:scaling>
        <c:axPos val="b"/>
        <c:numFmt formatCode="General" sourceLinked="1"/>
        <c:maj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22285440"/>
        <c:crosses val="autoZero"/>
        <c:auto val="1"/>
        <c:lblAlgn val="ctr"/>
        <c:lblOffset val="100"/>
      </c:catAx>
      <c:valAx>
        <c:axId val="12228544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22283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28575">
      <a:solidFill>
        <a:srgbClr val="BCDEC2">
          <a:lumMod val="50000"/>
        </a:srgbClr>
      </a:solidFill>
    </a:ln>
    <a:effectLst/>
  </c:spPr>
  <c:txPr>
    <a:bodyPr/>
    <a:lstStyle/>
    <a:p>
      <a:pPr>
        <a:defRPr/>
      </a:pPr>
      <a:endParaRPr lang="ar-SA"/>
    </a:p>
  </c:txPr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ar-SA"/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Loss </a:t>
            </a:r>
            <a:r>
              <a:rPr lang="en-US" dirty="0" smtClean="0"/>
              <a:t>Ratio (9M 2017)</a:t>
            </a:r>
            <a:endParaRPr lang="en-US" dirty="0"/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A$4</c:f>
              <c:strCache>
                <c:ptCount val="1"/>
                <c:pt idx="0">
                  <c:v>Loss Rati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1"/>
            <c:spPr>
              <a:solidFill>
                <a:schemeClr val="accent2"/>
              </a:solidFill>
              <a:ln>
                <a:solidFill>
                  <a:schemeClr val="accent2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96CE-45A1-AD42-96E873A794E6}"/>
              </c:ext>
            </c:extLst>
          </c:dPt>
          <c:dPt>
            <c:idx val="2"/>
            <c:spPr>
              <a:solidFill>
                <a:schemeClr val="bg1">
                  <a:lumMod val="50000"/>
                </a:schemeClr>
              </a:solidFill>
              <a:ln>
                <a:solidFill>
                  <a:schemeClr val="bg1">
                    <a:lumMod val="50000"/>
                  </a:schemeClr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96CE-45A1-AD42-96E873A794E6}"/>
              </c:ext>
            </c:extLst>
          </c:dPt>
          <c:dPt>
            <c:idx val="3"/>
            <c:spPr>
              <a:solidFill>
                <a:schemeClr val="accent4"/>
              </a:solidFill>
              <a:ln>
                <a:solidFill>
                  <a:schemeClr val="accent4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96CE-45A1-AD42-96E873A794E6}"/>
              </c:ext>
            </c:extLst>
          </c:dPt>
          <c:dPt>
            <c:idx val="4"/>
            <c:spPr>
              <a:solidFill>
                <a:schemeClr val="accent6"/>
              </a:solidFill>
              <a:ln>
                <a:solidFill>
                  <a:schemeClr val="accent6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96CE-45A1-AD42-96E873A794E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ar-SA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F$1</c:f>
              <c:strCache>
                <c:ptCount val="5"/>
                <c:pt idx="0">
                  <c:v>Life Insurance</c:v>
                </c:pt>
                <c:pt idx="1">
                  <c:v>Health Insurance</c:v>
                </c:pt>
                <c:pt idx="2">
                  <c:v>Motor Insurance</c:v>
                </c:pt>
                <c:pt idx="3">
                  <c:v>General Insurance</c:v>
                </c:pt>
                <c:pt idx="4">
                  <c:v>Total</c:v>
                </c:pt>
              </c:strCache>
            </c:strRef>
          </c:cat>
          <c:val>
            <c:numRef>
              <c:f>Sheet1!$B$4:$F$4</c:f>
              <c:numCache>
                <c:formatCode>0%</c:formatCode>
                <c:ptCount val="5"/>
                <c:pt idx="0">
                  <c:v>0.42000000000000004</c:v>
                </c:pt>
                <c:pt idx="1">
                  <c:v>0.81</c:v>
                </c:pt>
                <c:pt idx="2">
                  <c:v>0.7400000000000001</c:v>
                </c:pt>
                <c:pt idx="3">
                  <c:v>0.29000000000000004</c:v>
                </c:pt>
                <c:pt idx="4">
                  <c:v>0.77000000000000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96CE-45A1-AD42-96E873A794E6}"/>
            </c:ext>
          </c:extLst>
        </c:ser>
        <c:dLbls/>
        <c:gapWidth val="219"/>
        <c:overlap val="-27"/>
        <c:axId val="122102528"/>
        <c:axId val="122104064"/>
      </c:barChart>
      <c:catAx>
        <c:axId val="1221025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22104064"/>
        <c:crosses val="autoZero"/>
        <c:auto val="1"/>
        <c:lblAlgn val="ctr"/>
        <c:lblOffset val="100"/>
      </c:catAx>
      <c:valAx>
        <c:axId val="12210406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ar-SA"/>
          </a:p>
        </c:txPr>
        <c:crossAx val="1221025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 w="28575">
      <a:solidFill>
        <a:srgbClr val="BCDEC2">
          <a:lumMod val="50000"/>
        </a:srgbClr>
      </a:solidFill>
    </a:ln>
    <a:effectLst/>
  </c:spPr>
  <c:txPr>
    <a:bodyPr/>
    <a:lstStyle/>
    <a:p>
      <a:pPr>
        <a:defRPr/>
      </a:pPr>
      <a:endParaRPr lang="ar-SA"/>
    </a:p>
  </c:txPr>
  <c:externalData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F06AAC-6862-4034-8A9C-EC8E59B0F936}" type="doc">
      <dgm:prSet loTypeId="urn:microsoft.com/office/officeart/2005/8/layout/hProcess9" loCatId="process" qsTypeId="urn:microsoft.com/office/officeart/2005/8/quickstyle/simple1" qsCatId="simple" csTypeId="urn:microsoft.com/office/officeart/2005/8/colors/accent0_3" csCatId="mainScheme" phldr="1"/>
      <dgm:spPr/>
    </dgm:pt>
    <dgm:pt modelId="{684BD458-6BFB-4225-B59F-5E75B070E578}">
      <dgm:prSet phldrT="[Text]" custT="1"/>
      <dgm:spPr/>
      <dgm:t>
        <a:bodyPr/>
        <a:lstStyle/>
        <a:p>
          <a:r>
            <a:rPr lang="en-US" sz="1800" dirty="0" smtClean="0"/>
            <a:t>Studying for Exams</a:t>
          </a:r>
          <a:endParaRPr lang="en-US" sz="1800" dirty="0"/>
        </a:p>
      </dgm:t>
    </dgm:pt>
    <dgm:pt modelId="{D7350519-4432-4CC8-B514-C7C05FB5345D}" type="parTrans" cxnId="{AACFABD4-035E-4EA2-A947-9D239EE519BF}">
      <dgm:prSet/>
      <dgm:spPr/>
      <dgm:t>
        <a:bodyPr/>
        <a:lstStyle/>
        <a:p>
          <a:endParaRPr lang="en-US"/>
        </a:p>
      </dgm:t>
    </dgm:pt>
    <dgm:pt modelId="{2C674E86-82C4-4A41-A434-364014FC20AB}" type="sibTrans" cxnId="{AACFABD4-035E-4EA2-A947-9D239EE519BF}">
      <dgm:prSet/>
      <dgm:spPr/>
      <dgm:t>
        <a:bodyPr/>
        <a:lstStyle/>
        <a:p>
          <a:endParaRPr lang="en-US"/>
        </a:p>
      </dgm:t>
    </dgm:pt>
    <dgm:pt modelId="{2EA665FB-B63B-4AB6-9E14-4095E604A9C4}">
      <dgm:prSet phldrT="[Text]" custT="1"/>
      <dgm:spPr/>
      <dgm:t>
        <a:bodyPr/>
        <a:lstStyle/>
        <a:p>
          <a:pPr algn="r"/>
          <a:r>
            <a:rPr lang="en-US" sz="1800" dirty="0" smtClean="0"/>
            <a:t>…</a:t>
          </a:r>
          <a:endParaRPr lang="en-US" sz="1800" dirty="0"/>
        </a:p>
      </dgm:t>
    </dgm:pt>
    <dgm:pt modelId="{71B0AEAB-B73B-4383-A3DD-2DF1E27F5E8C}" type="parTrans" cxnId="{9FBCE116-0557-4530-939A-780D8B48B8DE}">
      <dgm:prSet/>
      <dgm:spPr/>
      <dgm:t>
        <a:bodyPr/>
        <a:lstStyle/>
        <a:p>
          <a:endParaRPr lang="en-US"/>
        </a:p>
      </dgm:t>
    </dgm:pt>
    <dgm:pt modelId="{167F87B8-12E0-4F4B-A791-A7F29F51467B}" type="sibTrans" cxnId="{9FBCE116-0557-4530-939A-780D8B48B8DE}">
      <dgm:prSet/>
      <dgm:spPr/>
      <dgm:t>
        <a:bodyPr/>
        <a:lstStyle/>
        <a:p>
          <a:endParaRPr lang="en-US"/>
        </a:p>
      </dgm:t>
    </dgm:pt>
    <dgm:pt modelId="{D8F28E6B-A940-42EA-9177-92E7A378117A}">
      <dgm:prSet phldrT="[Text]" custT="1"/>
      <dgm:spPr/>
      <dgm:t>
        <a:bodyPr/>
        <a:lstStyle/>
        <a:p>
          <a:r>
            <a:rPr lang="en-US" sz="1800" dirty="0" smtClean="0"/>
            <a:t>Successful Completion of all Requirements</a:t>
          </a:r>
          <a:endParaRPr lang="en-US" sz="1800" dirty="0"/>
        </a:p>
      </dgm:t>
    </dgm:pt>
    <dgm:pt modelId="{334DDC66-FC39-4526-92DE-33C2268ECCA3}" type="parTrans" cxnId="{A4983BCF-78DF-421D-9C75-F37543F34CB6}">
      <dgm:prSet/>
      <dgm:spPr/>
      <dgm:t>
        <a:bodyPr/>
        <a:lstStyle/>
        <a:p>
          <a:endParaRPr lang="en-US"/>
        </a:p>
      </dgm:t>
    </dgm:pt>
    <dgm:pt modelId="{096988DA-7CE6-4BA1-8A5D-02FB8ECC4953}" type="sibTrans" cxnId="{A4983BCF-78DF-421D-9C75-F37543F34CB6}">
      <dgm:prSet/>
      <dgm:spPr/>
      <dgm:t>
        <a:bodyPr/>
        <a:lstStyle/>
        <a:p>
          <a:endParaRPr lang="en-US"/>
        </a:p>
      </dgm:t>
    </dgm:pt>
    <dgm:pt modelId="{C0CA6066-9ECC-4EF9-9969-C0A7F1BC3CB8}">
      <dgm:prSet phldrT="[Text]" custT="1"/>
      <dgm:spPr/>
      <dgm:t>
        <a:bodyPr/>
        <a:lstStyle/>
        <a:p>
          <a:r>
            <a:rPr lang="en-US" sz="1800" dirty="0" smtClean="0"/>
            <a:t>Eligibility</a:t>
          </a:r>
          <a:endParaRPr lang="en-US" sz="1800" dirty="0"/>
        </a:p>
      </dgm:t>
    </dgm:pt>
    <dgm:pt modelId="{2ED17146-0D9C-4BC1-A8EE-57B784C67BBC}" type="sibTrans" cxnId="{D23AC03B-796C-4762-BAE8-EDB03C35ACFE}">
      <dgm:prSet/>
      <dgm:spPr/>
      <dgm:t>
        <a:bodyPr/>
        <a:lstStyle/>
        <a:p>
          <a:endParaRPr lang="en-US"/>
        </a:p>
      </dgm:t>
    </dgm:pt>
    <dgm:pt modelId="{445E2B04-77D0-4DE4-8C25-0D97B86D4EC7}" type="parTrans" cxnId="{D23AC03B-796C-4762-BAE8-EDB03C35ACFE}">
      <dgm:prSet/>
      <dgm:spPr/>
      <dgm:t>
        <a:bodyPr/>
        <a:lstStyle/>
        <a:p>
          <a:endParaRPr lang="en-US"/>
        </a:p>
      </dgm:t>
    </dgm:pt>
    <dgm:pt modelId="{B44AC04D-807B-4B1F-B738-BC4B81FC5411}">
      <dgm:prSet phldrT="[Text]" custT="1"/>
      <dgm:spPr/>
      <dgm:t>
        <a:bodyPr/>
        <a:lstStyle/>
        <a:p>
          <a:r>
            <a:rPr lang="en-US" sz="1800" dirty="0" smtClean="0"/>
            <a:t>Actuarial Exam Body</a:t>
          </a:r>
          <a:endParaRPr lang="en-US" sz="1800" dirty="0"/>
        </a:p>
      </dgm:t>
    </dgm:pt>
    <dgm:pt modelId="{65E0ABCA-722D-4BB9-95FA-E3496E006DE3}" type="sibTrans" cxnId="{F4F5CD4A-50AA-438D-AFC2-1CE07424B80B}">
      <dgm:prSet/>
      <dgm:spPr/>
      <dgm:t>
        <a:bodyPr/>
        <a:lstStyle/>
        <a:p>
          <a:endParaRPr lang="en-US"/>
        </a:p>
      </dgm:t>
    </dgm:pt>
    <dgm:pt modelId="{A49C756F-9532-40C4-982D-43D636FB7FA9}" type="parTrans" cxnId="{F4F5CD4A-50AA-438D-AFC2-1CE07424B80B}">
      <dgm:prSet/>
      <dgm:spPr/>
      <dgm:t>
        <a:bodyPr/>
        <a:lstStyle/>
        <a:p>
          <a:endParaRPr lang="en-US"/>
        </a:p>
      </dgm:t>
    </dgm:pt>
    <dgm:pt modelId="{B8219683-3C5D-41AB-BBF2-8A7D499A5F94}">
      <dgm:prSet phldrT="[Text]" custT="1"/>
      <dgm:spPr/>
      <dgm:t>
        <a:bodyPr/>
        <a:lstStyle/>
        <a:p>
          <a:r>
            <a:rPr lang="en-US" sz="1800" dirty="0" smtClean="0"/>
            <a:t>First Job</a:t>
          </a:r>
          <a:endParaRPr lang="en-US" sz="1800" dirty="0"/>
        </a:p>
      </dgm:t>
    </dgm:pt>
    <dgm:pt modelId="{D8E17DEE-6C61-4B53-8978-3318EB80F63D}" type="parTrans" cxnId="{35F304E9-A858-454D-8E17-6C38F230E0BA}">
      <dgm:prSet/>
      <dgm:spPr/>
      <dgm:t>
        <a:bodyPr/>
        <a:lstStyle/>
        <a:p>
          <a:endParaRPr lang="en-US"/>
        </a:p>
      </dgm:t>
    </dgm:pt>
    <dgm:pt modelId="{F7C43719-FEDC-4B7C-9A9D-23FCFB954285}" type="sibTrans" cxnId="{35F304E9-A858-454D-8E17-6C38F230E0BA}">
      <dgm:prSet/>
      <dgm:spPr/>
      <dgm:t>
        <a:bodyPr/>
        <a:lstStyle/>
        <a:p>
          <a:endParaRPr lang="en-US"/>
        </a:p>
      </dgm:t>
    </dgm:pt>
    <dgm:pt modelId="{C4366D68-E6CA-41F8-8FFD-B172DB9AE12D}" type="pres">
      <dgm:prSet presAssocID="{FDF06AAC-6862-4034-8A9C-EC8E59B0F936}" presName="CompostProcess" presStyleCnt="0">
        <dgm:presLayoutVars>
          <dgm:dir/>
          <dgm:resizeHandles val="exact"/>
        </dgm:presLayoutVars>
      </dgm:prSet>
      <dgm:spPr/>
    </dgm:pt>
    <dgm:pt modelId="{D4D9E1DD-6D07-4C59-A96E-2F2B14EE16E6}" type="pres">
      <dgm:prSet presAssocID="{FDF06AAC-6862-4034-8A9C-EC8E59B0F936}" presName="arrow" presStyleLbl="bgShp" presStyleIdx="0" presStyleCnt="1" custScaleX="117647" custLinFactNeighborX="53" custLinFactNeighborY="-1045"/>
      <dgm:spPr/>
    </dgm:pt>
    <dgm:pt modelId="{266D0776-55FD-4C8E-B61D-70D0DD7F57C3}" type="pres">
      <dgm:prSet presAssocID="{FDF06AAC-6862-4034-8A9C-EC8E59B0F936}" presName="linearProcess" presStyleCnt="0"/>
      <dgm:spPr/>
    </dgm:pt>
    <dgm:pt modelId="{6867A9D1-487B-4759-AB92-0390621AB9A4}" type="pres">
      <dgm:prSet presAssocID="{C0CA6066-9ECC-4EF9-9969-C0A7F1BC3CB8}" presName="textNode" presStyleLbl="node1" presStyleIdx="0" presStyleCnt="6" custScaleX="155050" custLinFactNeighborX="30223" custLinFactNeighborY="2711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  <dgm:pt modelId="{E9D0C117-1CB4-4240-92B2-0283E0A664FA}" type="pres">
      <dgm:prSet presAssocID="{2ED17146-0D9C-4BC1-A8EE-57B784C67BBC}" presName="sibTrans" presStyleCnt="0"/>
      <dgm:spPr/>
    </dgm:pt>
    <dgm:pt modelId="{6A324900-5D04-4CAF-9B70-D7E63E8A7DD2}" type="pres">
      <dgm:prSet presAssocID="{B44AC04D-807B-4B1F-B738-BC4B81FC5411}" presName="textNode" presStyleLbl="node1" presStyleIdx="1" presStyleCnt="6" custScaleX="152264" custLinFactNeighborX="-54173" custLinFactNeighborY="2711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  <dgm:pt modelId="{09AAAC64-08F4-49F8-9C20-F55DB8578DCB}" type="pres">
      <dgm:prSet presAssocID="{65E0ABCA-722D-4BB9-95FA-E3496E006DE3}" presName="sibTrans" presStyleCnt="0"/>
      <dgm:spPr/>
    </dgm:pt>
    <dgm:pt modelId="{4AB0FADB-7D17-48A3-80CE-0F3D624758C7}" type="pres">
      <dgm:prSet presAssocID="{B8219683-3C5D-41AB-BBF2-8A7D499A5F94}" presName="textNode" presStyleLbl="node1" presStyleIdx="2" presStyleCnt="6" custScaleX="113651" custLinFactX="-10692" custLinFactNeighborX="-100000" custLinFactNeighborY="5973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  <dgm:pt modelId="{90F250DA-2492-432B-9532-95A2F4677E01}" type="pres">
      <dgm:prSet presAssocID="{F7C43719-FEDC-4B7C-9A9D-23FCFB954285}" presName="sibTrans" presStyleCnt="0"/>
      <dgm:spPr/>
    </dgm:pt>
    <dgm:pt modelId="{04A158A7-5FC5-4058-982F-41A367E291B0}" type="pres">
      <dgm:prSet presAssocID="{684BD458-6BFB-4225-B59F-5E75B070E578}" presName="textNode" presStyleLbl="node1" presStyleIdx="3" presStyleCnt="6" custScaleX="155316" custLinFactX="-779" custLinFactNeighborX="-100000" custLinFactNeighborY="5381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  <dgm:pt modelId="{B5F7A959-0180-466B-B7DD-EE636133FA18}" type="pres">
      <dgm:prSet presAssocID="{2C674E86-82C4-4A41-A434-364014FC20AB}" presName="sibTrans" presStyleCnt="0"/>
      <dgm:spPr/>
    </dgm:pt>
    <dgm:pt modelId="{EB7F3EF7-5928-4BBE-8E0E-D76314C4FAAF}" type="pres">
      <dgm:prSet presAssocID="{2EA665FB-B63B-4AB6-9E14-4095E604A9C4}" presName="textNode" presStyleLbl="node1" presStyleIdx="4" presStyleCnt="6" custScaleX="68774" custLinFactX="-26069" custLinFactNeighborX="-100000" custLinFactNeighborY="2711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  <dgm:pt modelId="{2273E76A-3AC1-4188-921B-9DCB7AA3CBFA}" type="pres">
      <dgm:prSet presAssocID="{167F87B8-12E0-4F4B-A791-A7F29F51467B}" presName="sibTrans" presStyleCnt="0"/>
      <dgm:spPr/>
    </dgm:pt>
    <dgm:pt modelId="{40126522-483F-492B-9DAE-06A15E9C61B0}" type="pres">
      <dgm:prSet presAssocID="{D8F28E6B-A940-42EA-9177-92E7A378117A}" presName="textNode" presStyleLbl="node1" presStyleIdx="5" presStyleCnt="6" custScaleX="219234" custLinFactX="-50784" custLinFactNeighborX="-100000" custLinFactNeighborY="3629">
        <dgm:presLayoutVars>
          <dgm:bulletEnabled val="1"/>
        </dgm:presLayoutVars>
      </dgm:prSet>
      <dgm:spPr>
        <a:prstGeom prst="chevron">
          <a:avLst/>
        </a:prstGeom>
      </dgm:spPr>
      <dgm:t>
        <a:bodyPr/>
        <a:lstStyle/>
        <a:p>
          <a:endParaRPr lang="en-US"/>
        </a:p>
      </dgm:t>
    </dgm:pt>
  </dgm:ptLst>
  <dgm:cxnLst>
    <dgm:cxn modelId="{303F9F1D-8909-497D-B9C1-4E4F8C883F4A}" type="presOf" srcId="{D8F28E6B-A940-42EA-9177-92E7A378117A}" destId="{40126522-483F-492B-9DAE-06A15E9C61B0}" srcOrd="0" destOrd="0" presId="urn:microsoft.com/office/officeart/2005/8/layout/hProcess9"/>
    <dgm:cxn modelId="{AACFABD4-035E-4EA2-A947-9D239EE519BF}" srcId="{FDF06AAC-6862-4034-8A9C-EC8E59B0F936}" destId="{684BD458-6BFB-4225-B59F-5E75B070E578}" srcOrd="3" destOrd="0" parTransId="{D7350519-4432-4CC8-B514-C7C05FB5345D}" sibTransId="{2C674E86-82C4-4A41-A434-364014FC20AB}"/>
    <dgm:cxn modelId="{6EDB3FA5-2A43-43EC-959A-8816BB340E42}" type="presOf" srcId="{2EA665FB-B63B-4AB6-9E14-4095E604A9C4}" destId="{EB7F3EF7-5928-4BBE-8E0E-D76314C4FAAF}" srcOrd="0" destOrd="0" presId="urn:microsoft.com/office/officeart/2005/8/layout/hProcess9"/>
    <dgm:cxn modelId="{25957087-4CD1-4A6C-859B-EE1561214E75}" type="presOf" srcId="{C0CA6066-9ECC-4EF9-9969-C0A7F1BC3CB8}" destId="{6867A9D1-487B-4759-AB92-0390621AB9A4}" srcOrd="0" destOrd="0" presId="urn:microsoft.com/office/officeart/2005/8/layout/hProcess9"/>
    <dgm:cxn modelId="{F4F5CD4A-50AA-438D-AFC2-1CE07424B80B}" srcId="{FDF06AAC-6862-4034-8A9C-EC8E59B0F936}" destId="{B44AC04D-807B-4B1F-B738-BC4B81FC5411}" srcOrd="1" destOrd="0" parTransId="{A49C756F-9532-40C4-982D-43D636FB7FA9}" sibTransId="{65E0ABCA-722D-4BB9-95FA-E3496E006DE3}"/>
    <dgm:cxn modelId="{BD7CE55F-4092-403A-A6B3-241F4E3317F2}" type="presOf" srcId="{B8219683-3C5D-41AB-BBF2-8A7D499A5F94}" destId="{4AB0FADB-7D17-48A3-80CE-0F3D624758C7}" srcOrd="0" destOrd="0" presId="urn:microsoft.com/office/officeart/2005/8/layout/hProcess9"/>
    <dgm:cxn modelId="{7CC2F4D2-7173-430D-9239-741C01B2F9E5}" type="presOf" srcId="{684BD458-6BFB-4225-B59F-5E75B070E578}" destId="{04A158A7-5FC5-4058-982F-41A367E291B0}" srcOrd="0" destOrd="0" presId="urn:microsoft.com/office/officeart/2005/8/layout/hProcess9"/>
    <dgm:cxn modelId="{9FBCE116-0557-4530-939A-780D8B48B8DE}" srcId="{FDF06AAC-6862-4034-8A9C-EC8E59B0F936}" destId="{2EA665FB-B63B-4AB6-9E14-4095E604A9C4}" srcOrd="4" destOrd="0" parTransId="{71B0AEAB-B73B-4383-A3DD-2DF1E27F5E8C}" sibTransId="{167F87B8-12E0-4F4B-A791-A7F29F51467B}"/>
    <dgm:cxn modelId="{5823CD71-0884-4D39-8FCB-416E68744BC3}" type="presOf" srcId="{B44AC04D-807B-4B1F-B738-BC4B81FC5411}" destId="{6A324900-5D04-4CAF-9B70-D7E63E8A7DD2}" srcOrd="0" destOrd="0" presId="urn:microsoft.com/office/officeart/2005/8/layout/hProcess9"/>
    <dgm:cxn modelId="{A4983BCF-78DF-421D-9C75-F37543F34CB6}" srcId="{FDF06AAC-6862-4034-8A9C-EC8E59B0F936}" destId="{D8F28E6B-A940-42EA-9177-92E7A378117A}" srcOrd="5" destOrd="0" parTransId="{334DDC66-FC39-4526-92DE-33C2268ECCA3}" sibTransId="{096988DA-7CE6-4BA1-8A5D-02FB8ECC4953}"/>
    <dgm:cxn modelId="{68EE011F-A35B-4BA6-90C0-0FC975131D72}" type="presOf" srcId="{FDF06AAC-6862-4034-8A9C-EC8E59B0F936}" destId="{C4366D68-E6CA-41F8-8FFD-B172DB9AE12D}" srcOrd="0" destOrd="0" presId="urn:microsoft.com/office/officeart/2005/8/layout/hProcess9"/>
    <dgm:cxn modelId="{D23AC03B-796C-4762-BAE8-EDB03C35ACFE}" srcId="{FDF06AAC-6862-4034-8A9C-EC8E59B0F936}" destId="{C0CA6066-9ECC-4EF9-9969-C0A7F1BC3CB8}" srcOrd="0" destOrd="0" parTransId="{445E2B04-77D0-4DE4-8C25-0D97B86D4EC7}" sibTransId="{2ED17146-0D9C-4BC1-A8EE-57B784C67BBC}"/>
    <dgm:cxn modelId="{35F304E9-A858-454D-8E17-6C38F230E0BA}" srcId="{FDF06AAC-6862-4034-8A9C-EC8E59B0F936}" destId="{B8219683-3C5D-41AB-BBF2-8A7D499A5F94}" srcOrd="2" destOrd="0" parTransId="{D8E17DEE-6C61-4B53-8978-3318EB80F63D}" sibTransId="{F7C43719-FEDC-4B7C-9A9D-23FCFB954285}"/>
    <dgm:cxn modelId="{701873A0-B52C-4380-820D-382AA3961443}" type="presParOf" srcId="{C4366D68-E6CA-41F8-8FFD-B172DB9AE12D}" destId="{D4D9E1DD-6D07-4C59-A96E-2F2B14EE16E6}" srcOrd="0" destOrd="0" presId="urn:microsoft.com/office/officeart/2005/8/layout/hProcess9"/>
    <dgm:cxn modelId="{73C7B0B6-5D3D-4808-8F60-2C10D0F851C8}" type="presParOf" srcId="{C4366D68-E6CA-41F8-8FFD-B172DB9AE12D}" destId="{266D0776-55FD-4C8E-B61D-70D0DD7F57C3}" srcOrd="1" destOrd="0" presId="urn:microsoft.com/office/officeart/2005/8/layout/hProcess9"/>
    <dgm:cxn modelId="{66DD5DB9-253D-463D-AEA4-057E363F3313}" type="presParOf" srcId="{266D0776-55FD-4C8E-B61D-70D0DD7F57C3}" destId="{6867A9D1-487B-4759-AB92-0390621AB9A4}" srcOrd="0" destOrd="0" presId="urn:microsoft.com/office/officeart/2005/8/layout/hProcess9"/>
    <dgm:cxn modelId="{CEB8DB53-5752-4F06-B631-127B99B6810C}" type="presParOf" srcId="{266D0776-55FD-4C8E-B61D-70D0DD7F57C3}" destId="{E9D0C117-1CB4-4240-92B2-0283E0A664FA}" srcOrd="1" destOrd="0" presId="urn:microsoft.com/office/officeart/2005/8/layout/hProcess9"/>
    <dgm:cxn modelId="{745E6C70-232C-4822-A51A-AC70B7E64E77}" type="presParOf" srcId="{266D0776-55FD-4C8E-B61D-70D0DD7F57C3}" destId="{6A324900-5D04-4CAF-9B70-D7E63E8A7DD2}" srcOrd="2" destOrd="0" presId="urn:microsoft.com/office/officeart/2005/8/layout/hProcess9"/>
    <dgm:cxn modelId="{4118E1FD-75D8-4D2F-A70E-E7B795DBD916}" type="presParOf" srcId="{266D0776-55FD-4C8E-B61D-70D0DD7F57C3}" destId="{09AAAC64-08F4-49F8-9C20-F55DB8578DCB}" srcOrd="3" destOrd="0" presId="urn:microsoft.com/office/officeart/2005/8/layout/hProcess9"/>
    <dgm:cxn modelId="{147A2A6A-F412-47F2-94B7-5A6A1FBF43D2}" type="presParOf" srcId="{266D0776-55FD-4C8E-B61D-70D0DD7F57C3}" destId="{4AB0FADB-7D17-48A3-80CE-0F3D624758C7}" srcOrd="4" destOrd="0" presId="urn:microsoft.com/office/officeart/2005/8/layout/hProcess9"/>
    <dgm:cxn modelId="{F4A5FBE7-16E3-4431-A773-B0E9394B8F07}" type="presParOf" srcId="{266D0776-55FD-4C8E-B61D-70D0DD7F57C3}" destId="{90F250DA-2492-432B-9532-95A2F4677E01}" srcOrd="5" destOrd="0" presId="urn:microsoft.com/office/officeart/2005/8/layout/hProcess9"/>
    <dgm:cxn modelId="{A6A13344-3D58-4875-A999-50F357E46B34}" type="presParOf" srcId="{266D0776-55FD-4C8E-B61D-70D0DD7F57C3}" destId="{04A158A7-5FC5-4058-982F-41A367E291B0}" srcOrd="6" destOrd="0" presId="urn:microsoft.com/office/officeart/2005/8/layout/hProcess9"/>
    <dgm:cxn modelId="{9CB23B9C-6743-4B54-9255-5B21248F1DCD}" type="presParOf" srcId="{266D0776-55FD-4C8E-B61D-70D0DD7F57C3}" destId="{B5F7A959-0180-466B-B7DD-EE636133FA18}" srcOrd="7" destOrd="0" presId="urn:microsoft.com/office/officeart/2005/8/layout/hProcess9"/>
    <dgm:cxn modelId="{DBA1FF37-9845-42E5-98EE-6014D3242EBD}" type="presParOf" srcId="{266D0776-55FD-4C8E-B61D-70D0DD7F57C3}" destId="{EB7F3EF7-5928-4BBE-8E0E-D76314C4FAAF}" srcOrd="8" destOrd="0" presId="urn:microsoft.com/office/officeart/2005/8/layout/hProcess9"/>
    <dgm:cxn modelId="{4C3DCC1D-797C-4212-A56F-886D8626A361}" type="presParOf" srcId="{266D0776-55FD-4C8E-B61D-70D0DD7F57C3}" destId="{2273E76A-3AC1-4188-921B-9DCB7AA3CBFA}" srcOrd="9" destOrd="0" presId="urn:microsoft.com/office/officeart/2005/8/layout/hProcess9"/>
    <dgm:cxn modelId="{62A3C4A1-F755-4973-8F75-BCBD9FEA6A74}" type="presParOf" srcId="{266D0776-55FD-4C8E-B61D-70D0DD7F57C3}" destId="{40126522-483F-492B-9DAE-06A15E9C61B0}" srcOrd="10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7E4827-62F7-4B13-A23C-2EA9E579D7B7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C45C0E3-7860-4134-ACDE-E2B2E5365EB7}">
      <dgm:prSet phldrT="[Text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en-US" sz="1600" dirty="0" smtClean="0"/>
            <a:t>Actuarial Study Program</a:t>
          </a:r>
          <a:endParaRPr lang="en-US" sz="1600" dirty="0"/>
        </a:p>
      </dgm:t>
    </dgm:pt>
    <dgm:pt modelId="{5BFC0088-1CAF-4CC6-92EC-3DBC8977B323}" type="parTrans" cxnId="{D72C29B0-B2DF-4A79-B8A8-41CF4A0D3290}">
      <dgm:prSet/>
      <dgm:spPr/>
      <dgm:t>
        <a:bodyPr/>
        <a:lstStyle/>
        <a:p>
          <a:endParaRPr lang="en-US"/>
        </a:p>
      </dgm:t>
    </dgm:pt>
    <dgm:pt modelId="{6126E7C0-654E-42F4-8E3C-D51850AC5C32}" type="sibTrans" cxnId="{D72C29B0-B2DF-4A79-B8A8-41CF4A0D3290}">
      <dgm:prSet/>
      <dgm:spPr/>
      <dgm:t>
        <a:bodyPr/>
        <a:lstStyle/>
        <a:p>
          <a:endParaRPr lang="en-US"/>
        </a:p>
      </dgm:t>
    </dgm:pt>
    <dgm:pt modelId="{652184D4-94EA-4ADD-B263-92B1D1D7ADCD}">
      <dgm:prSet phldrT="[Text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Study Support</a:t>
          </a:r>
          <a:endParaRPr lang="en-US" sz="1400" b="1" dirty="0">
            <a:solidFill>
              <a:srgbClr val="002060"/>
            </a:solidFill>
          </a:endParaRPr>
        </a:p>
      </dgm:t>
    </dgm:pt>
    <dgm:pt modelId="{631DBB7D-D546-4A03-9FA2-DCD602954E22}" type="parTrans" cxnId="{EA991A23-545B-496B-A813-4E60E6CDEB56}">
      <dgm:prSet/>
      <dgm:spPr/>
      <dgm:t>
        <a:bodyPr/>
        <a:lstStyle/>
        <a:p>
          <a:endParaRPr lang="en-US"/>
        </a:p>
      </dgm:t>
    </dgm:pt>
    <dgm:pt modelId="{7695EBBF-9D43-4815-A5C5-8D287BAAD446}" type="sibTrans" cxnId="{EA991A23-545B-496B-A813-4E60E6CDEB56}">
      <dgm:prSet/>
      <dgm:spPr/>
      <dgm:t>
        <a:bodyPr/>
        <a:lstStyle/>
        <a:p>
          <a:endParaRPr lang="en-US"/>
        </a:p>
      </dgm:t>
    </dgm:pt>
    <dgm:pt modelId="{8B3F5830-12B8-46EA-81F4-8B3ACF4D2270}">
      <dgm:prSet phldrT="[Text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Financial Support</a:t>
          </a:r>
          <a:endParaRPr lang="en-US" sz="1400" b="1" dirty="0">
            <a:solidFill>
              <a:srgbClr val="002060"/>
            </a:solidFill>
          </a:endParaRPr>
        </a:p>
      </dgm:t>
    </dgm:pt>
    <dgm:pt modelId="{D96C9F85-6DF1-46E8-B7DB-9ED1550B364B}" type="parTrans" cxnId="{9387FC06-0BD7-4E74-B625-805465C623D3}">
      <dgm:prSet/>
      <dgm:spPr/>
      <dgm:t>
        <a:bodyPr/>
        <a:lstStyle/>
        <a:p>
          <a:endParaRPr lang="en-US"/>
        </a:p>
      </dgm:t>
    </dgm:pt>
    <dgm:pt modelId="{E8716057-A6AE-41A9-A030-81BF206A99CE}" type="sibTrans" cxnId="{9387FC06-0BD7-4E74-B625-805465C623D3}">
      <dgm:prSet/>
      <dgm:spPr/>
      <dgm:t>
        <a:bodyPr/>
        <a:lstStyle/>
        <a:p>
          <a:endParaRPr lang="en-US"/>
        </a:p>
      </dgm:t>
    </dgm:pt>
    <dgm:pt modelId="{A51EC03E-A32F-439E-9624-8D01EAFFDA47}">
      <dgm:prSet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en-US" sz="1400" b="1" dirty="0" smtClean="0">
              <a:solidFill>
                <a:srgbClr val="002060"/>
              </a:solidFill>
            </a:rPr>
            <a:t>Professional Development</a:t>
          </a:r>
          <a:endParaRPr lang="en-US" sz="1400" b="1" dirty="0">
            <a:solidFill>
              <a:srgbClr val="002060"/>
            </a:solidFill>
          </a:endParaRPr>
        </a:p>
      </dgm:t>
    </dgm:pt>
    <dgm:pt modelId="{BEA14192-A240-4FFD-B334-43280FA1830D}" type="parTrans" cxnId="{81EA2E0F-A154-45AC-977E-DAD60C80737F}">
      <dgm:prSet/>
      <dgm:spPr/>
      <dgm:t>
        <a:bodyPr/>
        <a:lstStyle/>
        <a:p>
          <a:endParaRPr lang="en-US"/>
        </a:p>
      </dgm:t>
    </dgm:pt>
    <dgm:pt modelId="{67CA6A54-066E-4BC9-AD18-2B821E14C0A1}" type="sibTrans" cxnId="{81EA2E0F-A154-45AC-977E-DAD60C80737F}">
      <dgm:prSet/>
      <dgm:spPr/>
      <dgm:t>
        <a:bodyPr/>
        <a:lstStyle/>
        <a:p>
          <a:endParaRPr lang="en-US"/>
        </a:p>
      </dgm:t>
    </dgm:pt>
    <dgm:pt modelId="{0BFB2DB1-EAD5-4039-B07C-71828E28E224}">
      <dgm:prSet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CPD Credits Post-Qualification</a:t>
          </a:r>
          <a:endParaRPr lang="en-US" sz="1400" dirty="0">
            <a:solidFill>
              <a:srgbClr val="002060"/>
            </a:solidFill>
          </a:endParaRPr>
        </a:p>
      </dgm:t>
    </dgm:pt>
    <dgm:pt modelId="{40FF49D0-7CC4-4043-9E26-28F82C07B23E}" type="sibTrans" cxnId="{5A728322-AAB4-4142-9D3B-04C023FBCE4B}">
      <dgm:prSet/>
      <dgm:spPr/>
      <dgm:t>
        <a:bodyPr/>
        <a:lstStyle/>
        <a:p>
          <a:endParaRPr lang="en-US"/>
        </a:p>
      </dgm:t>
    </dgm:pt>
    <dgm:pt modelId="{3DCDB130-59EF-45D2-8B26-2C918F464687}" type="parTrans" cxnId="{5A728322-AAB4-4142-9D3B-04C023FBCE4B}">
      <dgm:prSet/>
      <dgm:spPr/>
      <dgm:t>
        <a:bodyPr/>
        <a:lstStyle/>
        <a:p>
          <a:endParaRPr lang="en-US"/>
        </a:p>
      </dgm:t>
    </dgm:pt>
    <dgm:pt modelId="{8EBD94F2-759E-446B-9840-8E07C9D71C77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Participation in International events</a:t>
          </a:r>
          <a:endParaRPr lang="en-US" sz="1400" dirty="0">
            <a:solidFill>
              <a:srgbClr val="002060"/>
            </a:solidFill>
          </a:endParaRPr>
        </a:p>
      </dgm:t>
    </dgm:pt>
    <dgm:pt modelId="{782A3E0E-A838-4884-AA2C-D4FF2B7CFB8F}" type="sibTrans" cxnId="{180768BE-7F93-43BB-AB3E-5B43A82ED0B2}">
      <dgm:prSet/>
      <dgm:spPr/>
      <dgm:t>
        <a:bodyPr/>
        <a:lstStyle/>
        <a:p>
          <a:endParaRPr lang="en-US"/>
        </a:p>
      </dgm:t>
    </dgm:pt>
    <dgm:pt modelId="{9C97A999-1E43-425F-A23F-B396FD4CA59D}" type="parTrans" cxnId="{180768BE-7F93-43BB-AB3E-5B43A82ED0B2}">
      <dgm:prSet/>
      <dgm:spPr/>
      <dgm:t>
        <a:bodyPr/>
        <a:lstStyle/>
        <a:p>
          <a:endParaRPr lang="en-US"/>
        </a:p>
      </dgm:t>
    </dgm:pt>
    <dgm:pt modelId="{8D452F23-722A-45B8-A3B7-BD7341F95ECD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Participation in local events</a:t>
          </a:r>
          <a:endParaRPr lang="en-US" sz="1400" dirty="0">
            <a:solidFill>
              <a:srgbClr val="002060"/>
            </a:solidFill>
          </a:endParaRPr>
        </a:p>
      </dgm:t>
    </dgm:pt>
    <dgm:pt modelId="{42CF5589-C0E0-481F-BDB3-90C073777AF1}" type="sibTrans" cxnId="{79B9CB38-2EC4-47FC-A468-EBA38915F493}">
      <dgm:prSet/>
      <dgm:spPr/>
      <dgm:t>
        <a:bodyPr/>
        <a:lstStyle/>
        <a:p>
          <a:endParaRPr lang="en-US"/>
        </a:p>
      </dgm:t>
    </dgm:pt>
    <dgm:pt modelId="{18995A95-5C12-4C74-8A6C-C7A2E6E5EF5C}" type="parTrans" cxnId="{79B9CB38-2EC4-47FC-A468-EBA38915F493}">
      <dgm:prSet/>
      <dgm:spPr/>
      <dgm:t>
        <a:bodyPr/>
        <a:lstStyle/>
        <a:p>
          <a:endParaRPr lang="en-US"/>
        </a:p>
      </dgm:t>
    </dgm:pt>
    <dgm:pt modelId="{4A24554E-6966-4833-AD10-43D9BD6AA4F0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In-house training by actuaries</a:t>
          </a:r>
          <a:endParaRPr lang="en-US" sz="1400" dirty="0">
            <a:solidFill>
              <a:srgbClr val="002060"/>
            </a:solidFill>
          </a:endParaRPr>
        </a:p>
      </dgm:t>
    </dgm:pt>
    <dgm:pt modelId="{6D4BDFB2-85E7-4793-880E-D416A4E16182}" type="sibTrans" cxnId="{777B35C4-ABF6-4AB1-8FEB-AB6658C76A50}">
      <dgm:prSet/>
      <dgm:spPr/>
      <dgm:t>
        <a:bodyPr/>
        <a:lstStyle/>
        <a:p>
          <a:endParaRPr lang="en-US"/>
        </a:p>
      </dgm:t>
    </dgm:pt>
    <dgm:pt modelId="{201F703D-018D-43C5-9824-8FE1ADD68A0C}" type="parTrans" cxnId="{777B35C4-ABF6-4AB1-8FEB-AB6658C76A50}">
      <dgm:prSet/>
      <dgm:spPr/>
      <dgm:t>
        <a:bodyPr/>
        <a:lstStyle/>
        <a:p>
          <a:endParaRPr lang="en-US"/>
        </a:p>
      </dgm:t>
    </dgm:pt>
    <dgm:pt modelId="{6E2BE031-513C-4158-92D6-B7A4EA3893AF}">
      <dgm:prSet custT="1"/>
      <dgm:spPr>
        <a:solidFill>
          <a:schemeClr val="accent5">
            <a:lumMod val="90000"/>
          </a:schemeClr>
        </a:solidFill>
        <a:ln>
          <a:solidFill>
            <a:schemeClr val="accent5">
              <a:lumMod val="90000"/>
            </a:schemeClr>
          </a:solidFill>
        </a:ln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Qualification Bonus</a:t>
          </a:r>
          <a:endParaRPr lang="en-US" sz="1400" dirty="0">
            <a:solidFill>
              <a:srgbClr val="002060"/>
            </a:solidFill>
          </a:endParaRPr>
        </a:p>
      </dgm:t>
    </dgm:pt>
    <dgm:pt modelId="{D03882A8-75AD-4AE2-B634-A28E35918737}" type="sibTrans" cxnId="{F3B39687-2F86-4511-B597-9CC275E4C5C7}">
      <dgm:prSet/>
      <dgm:spPr/>
      <dgm:t>
        <a:bodyPr/>
        <a:lstStyle/>
        <a:p>
          <a:endParaRPr lang="en-US"/>
        </a:p>
      </dgm:t>
    </dgm:pt>
    <dgm:pt modelId="{B24AF362-BC08-4F68-B3F7-B6605C75FEA9}" type="parTrans" cxnId="{F3B39687-2F86-4511-B597-9CC275E4C5C7}">
      <dgm:prSet/>
      <dgm:spPr/>
      <dgm:t>
        <a:bodyPr/>
        <a:lstStyle/>
        <a:p>
          <a:endParaRPr lang="en-US"/>
        </a:p>
      </dgm:t>
    </dgm:pt>
    <dgm:pt modelId="{F9232E09-52DC-48F3-8DE6-1A7AB9628993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Promotion upon passing exams</a:t>
          </a:r>
          <a:endParaRPr lang="en-US" sz="1400" dirty="0">
            <a:solidFill>
              <a:srgbClr val="002060"/>
            </a:solidFill>
          </a:endParaRPr>
        </a:p>
      </dgm:t>
    </dgm:pt>
    <dgm:pt modelId="{F778965F-306D-4257-BCFD-5B7E8CE713FD}" type="sibTrans" cxnId="{852CB158-ACB4-49DF-8939-48DCD035CBF6}">
      <dgm:prSet/>
      <dgm:spPr/>
      <dgm:t>
        <a:bodyPr/>
        <a:lstStyle/>
        <a:p>
          <a:endParaRPr lang="en-US"/>
        </a:p>
      </dgm:t>
    </dgm:pt>
    <dgm:pt modelId="{EFEE2C8B-4AB8-456A-B727-932B01AD2585}" type="parTrans" cxnId="{852CB158-ACB4-49DF-8939-48DCD035CBF6}">
      <dgm:prSet/>
      <dgm:spPr/>
      <dgm:t>
        <a:bodyPr/>
        <a:lstStyle/>
        <a:p>
          <a:endParaRPr lang="en-US"/>
        </a:p>
      </dgm:t>
    </dgm:pt>
    <dgm:pt modelId="{3F39EECA-72B3-4A09-A95F-0355EE6C50A0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Salary increases upon passing exams</a:t>
          </a:r>
          <a:endParaRPr lang="en-US" sz="1400" dirty="0">
            <a:solidFill>
              <a:srgbClr val="002060"/>
            </a:solidFill>
          </a:endParaRPr>
        </a:p>
      </dgm:t>
    </dgm:pt>
    <dgm:pt modelId="{33C293A8-7C40-4F80-8772-CE56A8639C1C}" type="sibTrans" cxnId="{BCACE14D-2A66-4A9E-A915-F46060EDFDA4}">
      <dgm:prSet/>
      <dgm:spPr/>
      <dgm:t>
        <a:bodyPr/>
        <a:lstStyle/>
        <a:p>
          <a:endParaRPr lang="en-US"/>
        </a:p>
      </dgm:t>
    </dgm:pt>
    <dgm:pt modelId="{FC1548C8-CB48-4E5C-A113-0F15401DCC4F}" type="parTrans" cxnId="{BCACE14D-2A66-4A9E-A915-F46060EDFDA4}">
      <dgm:prSet/>
      <dgm:spPr/>
      <dgm:t>
        <a:bodyPr/>
        <a:lstStyle/>
        <a:p>
          <a:endParaRPr lang="en-US"/>
        </a:p>
      </dgm:t>
    </dgm:pt>
    <dgm:pt modelId="{B4CD6E0C-5B7C-422D-A834-0721117459E9}">
      <dgm:prSet phldrT="[Text]"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Higher starting pay</a:t>
          </a:r>
          <a:endParaRPr lang="en-US" sz="1400" dirty="0">
            <a:solidFill>
              <a:srgbClr val="002060"/>
            </a:solidFill>
          </a:endParaRPr>
        </a:p>
      </dgm:t>
    </dgm:pt>
    <dgm:pt modelId="{D4DE6979-87DC-47D6-8860-629FED785CFF}" type="sibTrans" cxnId="{D09A0DEB-A5CC-4C99-9F4B-EEC8F67FDD17}">
      <dgm:prSet/>
      <dgm:spPr/>
      <dgm:t>
        <a:bodyPr/>
        <a:lstStyle/>
        <a:p>
          <a:endParaRPr lang="en-US"/>
        </a:p>
      </dgm:t>
    </dgm:pt>
    <dgm:pt modelId="{22D86982-E6BD-4AA2-9D81-B2F8E9472061}" type="parTrans" cxnId="{D09A0DEB-A5CC-4C99-9F4B-EEC8F67FDD17}">
      <dgm:prSet/>
      <dgm:spPr/>
      <dgm:t>
        <a:bodyPr/>
        <a:lstStyle/>
        <a:p>
          <a:endParaRPr lang="en-US"/>
        </a:p>
      </dgm:t>
    </dgm:pt>
    <dgm:pt modelId="{2C1545B2-9BA6-4A32-A4FB-AA6200F841BE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Study Mentors</a:t>
          </a:r>
          <a:endParaRPr lang="en-US" sz="1400" dirty="0">
            <a:solidFill>
              <a:srgbClr val="002060"/>
            </a:solidFill>
          </a:endParaRPr>
        </a:p>
      </dgm:t>
    </dgm:pt>
    <dgm:pt modelId="{E5CDCA68-E76F-4E57-A230-68B3F1405065}" type="sibTrans" cxnId="{325FBE93-A93A-43FE-9943-E81D6747CF77}">
      <dgm:prSet/>
      <dgm:spPr/>
      <dgm:t>
        <a:bodyPr/>
        <a:lstStyle/>
        <a:p>
          <a:endParaRPr lang="en-US"/>
        </a:p>
      </dgm:t>
    </dgm:pt>
    <dgm:pt modelId="{622516FE-9154-40BB-A5F7-4660F6F1D882}" type="parTrans" cxnId="{325FBE93-A93A-43FE-9943-E81D6747CF77}">
      <dgm:prSet/>
      <dgm:spPr/>
      <dgm:t>
        <a:bodyPr/>
        <a:lstStyle/>
        <a:p>
          <a:endParaRPr lang="en-US"/>
        </a:p>
      </dgm:t>
    </dgm:pt>
    <dgm:pt modelId="{52EBDAC2-A97B-49ED-921C-B24AF7BB790F}">
      <dgm:prSet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Study Material &amp; Exam Fees</a:t>
          </a:r>
          <a:endParaRPr lang="en-US" sz="1400" dirty="0">
            <a:solidFill>
              <a:srgbClr val="002060"/>
            </a:solidFill>
          </a:endParaRPr>
        </a:p>
      </dgm:t>
    </dgm:pt>
    <dgm:pt modelId="{C30D5452-2A2E-4607-B3BD-1F178B4B91F5}" type="sibTrans" cxnId="{F11B7AAB-01A4-45B6-892D-9B31492E34E5}">
      <dgm:prSet/>
      <dgm:spPr/>
      <dgm:t>
        <a:bodyPr/>
        <a:lstStyle/>
        <a:p>
          <a:endParaRPr lang="en-US"/>
        </a:p>
      </dgm:t>
    </dgm:pt>
    <dgm:pt modelId="{4DF61083-458F-414B-A337-439EB36DE2E8}" type="parTrans" cxnId="{F11B7AAB-01A4-45B6-892D-9B31492E34E5}">
      <dgm:prSet/>
      <dgm:spPr/>
      <dgm:t>
        <a:bodyPr/>
        <a:lstStyle/>
        <a:p>
          <a:endParaRPr lang="en-US"/>
        </a:p>
      </dgm:t>
    </dgm:pt>
    <dgm:pt modelId="{4A12D2B6-275D-445A-BE94-56F38849E2B6}">
      <dgm:prSet phldrT="[Text]"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Leave before exams</a:t>
          </a:r>
          <a:endParaRPr lang="en-US" sz="1400" dirty="0">
            <a:solidFill>
              <a:srgbClr val="002060"/>
            </a:solidFill>
          </a:endParaRPr>
        </a:p>
      </dgm:t>
    </dgm:pt>
    <dgm:pt modelId="{7B70ACF2-CC76-40A8-9A35-4AD2DA22DCA6}" type="sibTrans" cxnId="{76BA0B3B-1F70-4455-9BF7-6EA8F14CE8E4}">
      <dgm:prSet/>
      <dgm:spPr/>
      <dgm:t>
        <a:bodyPr/>
        <a:lstStyle/>
        <a:p>
          <a:endParaRPr lang="en-US"/>
        </a:p>
      </dgm:t>
    </dgm:pt>
    <dgm:pt modelId="{7D13340F-5616-454A-8491-E37DCAB9BC2B}" type="parTrans" cxnId="{76BA0B3B-1F70-4455-9BF7-6EA8F14CE8E4}">
      <dgm:prSet/>
      <dgm:spPr/>
      <dgm:t>
        <a:bodyPr/>
        <a:lstStyle/>
        <a:p>
          <a:endParaRPr lang="en-US"/>
        </a:p>
      </dgm:t>
    </dgm:pt>
    <dgm:pt modelId="{FEA8668B-E4F6-4C7B-B2DB-62EA88239CAB}">
      <dgm:prSet phldrT="[Text]" custT="1"/>
      <dgm:spPr>
        <a:solidFill>
          <a:schemeClr val="accent5">
            <a:lumMod val="90000"/>
          </a:schemeClr>
        </a:solidFill>
      </dgm:spPr>
      <dgm:t>
        <a:bodyPr/>
        <a:lstStyle/>
        <a:p>
          <a:r>
            <a:rPr lang="en-US" sz="1400" dirty="0" smtClean="0">
              <a:solidFill>
                <a:srgbClr val="002060"/>
              </a:solidFill>
            </a:rPr>
            <a:t>Study days</a:t>
          </a:r>
          <a:endParaRPr lang="en-US" sz="1400" dirty="0">
            <a:solidFill>
              <a:srgbClr val="002060"/>
            </a:solidFill>
          </a:endParaRPr>
        </a:p>
      </dgm:t>
    </dgm:pt>
    <dgm:pt modelId="{9B68BBDF-8960-403C-A107-9EA3BDC377C9}" type="sibTrans" cxnId="{82B33372-573E-4DED-BD19-255642379575}">
      <dgm:prSet/>
      <dgm:spPr/>
      <dgm:t>
        <a:bodyPr/>
        <a:lstStyle/>
        <a:p>
          <a:endParaRPr lang="en-US"/>
        </a:p>
      </dgm:t>
    </dgm:pt>
    <dgm:pt modelId="{E8624480-E91B-4BED-A544-4148DA0E83EA}" type="parTrans" cxnId="{82B33372-573E-4DED-BD19-255642379575}">
      <dgm:prSet/>
      <dgm:spPr/>
      <dgm:t>
        <a:bodyPr/>
        <a:lstStyle/>
        <a:p>
          <a:endParaRPr lang="en-US"/>
        </a:p>
      </dgm:t>
    </dgm:pt>
    <dgm:pt modelId="{C05567D2-8223-49F7-9DCB-E148EF70122C}" type="pres">
      <dgm:prSet presAssocID="{437E4827-62F7-4B13-A23C-2EA9E579D7B7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US"/>
        </a:p>
      </dgm:t>
    </dgm:pt>
    <dgm:pt modelId="{B78F02E0-4D5B-44B4-B93C-9BE23416369A}" type="pres">
      <dgm:prSet presAssocID="{4C45C0E3-7860-4134-ACDE-E2B2E5365EB7}" presName="hierRoot1" presStyleCnt="0">
        <dgm:presLayoutVars>
          <dgm:hierBranch val="init"/>
        </dgm:presLayoutVars>
      </dgm:prSet>
      <dgm:spPr/>
    </dgm:pt>
    <dgm:pt modelId="{D4BA3CE9-C976-4B13-A593-3FADA809C254}" type="pres">
      <dgm:prSet presAssocID="{4C45C0E3-7860-4134-ACDE-E2B2E5365EB7}" presName="rootComposite1" presStyleCnt="0"/>
      <dgm:spPr/>
    </dgm:pt>
    <dgm:pt modelId="{25D464CE-C410-4B55-9C85-EEB64AD06FB5}" type="pres">
      <dgm:prSet presAssocID="{4C45C0E3-7860-4134-ACDE-E2B2E5365EB7}" presName="rootText1" presStyleLbl="node0" presStyleIdx="0" presStyleCnt="1" custScaleX="186601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13B19ED-B462-4B8A-8D30-71A73F514939}" type="pres">
      <dgm:prSet presAssocID="{4C45C0E3-7860-4134-ACDE-E2B2E5365EB7}" presName="rootConnector1" presStyleLbl="node1" presStyleIdx="0" presStyleCnt="0"/>
      <dgm:spPr/>
      <dgm:t>
        <a:bodyPr/>
        <a:lstStyle/>
        <a:p>
          <a:endParaRPr lang="en-US"/>
        </a:p>
      </dgm:t>
    </dgm:pt>
    <dgm:pt modelId="{BC97566B-A0E9-4C1E-8AE0-245E69982967}" type="pres">
      <dgm:prSet presAssocID="{4C45C0E3-7860-4134-ACDE-E2B2E5365EB7}" presName="hierChild2" presStyleCnt="0"/>
      <dgm:spPr/>
    </dgm:pt>
    <dgm:pt modelId="{44359947-087F-4CD9-A75C-A7405F02F739}" type="pres">
      <dgm:prSet presAssocID="{631DBB7D-D546-4A03-9FA2-DCD602954E22}" presName="Name37" presStyleLbl="parChTrans1D2" presStyleIdx="0" presStyleCnt="3"/>
      <dgm:spPr/>
      <dgm:t>
        <a:bodyPr/>
        <a:lstStyle/>
        <a:p>
          <a:endParaRPr lang="en-US"/>
        </a:p>
      </dgm:t>
    </dgm:pt>
    <dgm:pt modelId="{2C707351-EFD4-47E4-8AE3-BC0B1448A202}" type="pres">
      <dgm:prSet presAssocID="{652184D4-94EA-4ADD-B263-92B1D1D7ADCD}" presName="hierRoot2" presStyleCnt="0">
        <dgm:presLayoutVars>
          <dgm:hierBranch val="init"/>
        </dgm:presLayoutVars>
      </dgm:prSet>
      <dgm:spPr/>
    </dgm:pt>
    <dgm:pt modelId="{2EC6DD49-A5DD-4E43-BC20-1734DFEE6E63}" type="pres">
      <dgm:prSet presAssocID="{652184D4-94EA-4ADD-B263-92B1D1D7ADCD}" presName="rootComposite" presStyleCnt="0"/>
      <dgm:spPr/>
    </dgm:pt>
    <dgm:pt modelId="{76B7DFB5-71DB-4414-A1E6-66E25BCEAB3A}" type="pres">
      <dgm:prSet presAssocID="{652184D4-94EA-4ADD-B263-92B1D1D7ADCD}" presName="rootText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BF6EF8B-D6CE-4BF5-9479-596E6654E1E9}" type="pres">
      <dgm:prSet presAssocID="{652184D4-94EA-4ADD-B263-92B1D1D7ADCD}" presName="rootConnector" presStyleLbl="node2" presStyleIdx="0" presStyleCnt="3"/>
      <dgm:spPr/>
      <dgm:t>
        <a:bodyPr/>
        <a:lstStyle/>
        <a:p>
          <a:endParaRPr lang="en-US"/>
        </a:p>
      </dgm:t>
    </dgm:pt>
    <dgm:pt modelId="{B3ED6730-5037-453C-A7BB-5D1A0DFBC02B}" type="pres">
      <dgm:prSet presAssocID="{652184D4-94EA-4ADD-B263-92B1D1D7ADCD}" presName="hierChild4" presStyleCnt="0"/>
      <dgm:spPr/>
    </dgm:pt>
    <dgm:pt modelId="{BDF6EE11-F6FF-4A91-93BC-65B4B8D9A1BE}" type="pres">
      <dgm:prSet presAssocID="{E8624480-E91B-4BED-A544-4148DA0E83EA}" presName="Name37" presStyleLbl="parChTrans1D3" presStyleIdx="0" presStyleCnt="12"/>
      <dgm:spPr/>
      <dgm:t>
        <a:bodyPr/>
        <a:lstStyle/>
        <a:p>
          <a:endParaRPr lang="en-US"/>
        </a:p>
      </dgm:t>
    </dgm:pt>
    <dgm:pt modelId="{5E0C30F0-EA16-47F1-9E85-AD3B6BF4257F}" type="pres">
      <dgm:prSet presAssocID="{FEA8668B-E4F6-4C7B-B2DB-62EA88239CAB}" presName="hierRoot2" presStyleCnt="0">
        <dgm:presLayoutVars>
          <dgm:hierBranch val="init"/>
        </dgm:presLayoutVars>
      </dgm:prSet>
      <dgm:spPr/>
    </dgm:pt>
    <dgm:pt modelId="{C6D1BDAA-6ACC-4226-8600-4079DC2BE59E}" type="pres">
      <dgm:prSet presAssocID="{FEA8668B-E4F6-4C7B-B2DB-62EA88239CAB}" presName="rootComposite" presStyleCnt="0"/>
      <dgm:spPr/>
    </dgm:pt>
    <dgm:pt modelId="{9C89A9C3-6C91-42CC-A2A5-0B68D4198168}" type="pres">
      <dgm:prSet presAssocID="{FEA8668B-E4F6-4C7B-B2DB-62EA88239CAB}" presName="rootText" presStyleLbl="node3" presStyleIdx="0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C97715B-61B8-4036-A5F4-4E5A40150E2A}" type="pres">
      <dgm:prSet presAssocID="{FEA8668B-E4F6-4C7B-B2DB-62EA88239CAB}" presName="rootConnector" presStyleLbl="node3" presStyleIdx="0" presStyleCnt="12"/>
      <dgm:spPr/>
      <dgm:t>
        <a:bodyPr/>
        <a:lstStyle/>
        <a:p>
          <a:endParaRPr lang="en-US"/>
        </a:p>
      </dgm:t>
    </dgm:pt>
    <dgm:pt modelId="{9C19B9DC-F3A5-4101-89FF-22FE42F13EB1}" type="pres">
      <dgm:prSet presAssocID="{FEA8668B-E4F6-4C7B-B2DB-62EA88239CAB}" presName="hierChild4" presStyleCnt="0"/>
      <dgm:spPr/>
    </dgm:pt>
    <dgm:pt modelId="{BDA31A1F-3B1C-481B-8BC4-8034EEC4B621}" type="pres">
      <dgm:prSet presAssocID="{FEA8668B-E4F6-4C7B-B2DB-62EA88239CAB}" presName="hierChild5" presStyleCnt="0"/>
      <dgm:spPr/>
    </dgm:pt>
    <dgm:pt modelId="{B998986C-6B01-4403-9DB8-9BB4110C43DA}" type="pres">
      <dgm:prSet presAssocID="{7D13340F-5616-454A-8491-E37DCAB9BC2B}" presName="Name37" presStyleLbl="parChTrans1D3" presStyleIdx="1" presStyleCnt="12"/>
      <dgm:spPr/>
      <dgm:t>
        <a:bodyPr/>
        <a:lstStyle/>
        <a:p>
          <a:endParaRPr lang="en-US"/>
        </a:p>
      </dgm:t>
    </dgm:pt>
    <dgm:pt modelId="{8C3B54B2-1A8F-486C-9828-E54226B1D8FD}" type="pres">
      <dgm:prSet presAssocID="{4A12D2B6-275D-445A-BE94-56F38849E2B6}" presName="hierRoot2" presStyleCnt="0">
        <dgm:presLayoutVars>
          <dgm:hierBranch val="init"/>
        </dgm:presLayoutVars>
      </dgm:prSet>
      <dgm:spPr/>
    </dgm:pt>
    <dgm:pt modelId="{E55177C9-C834-49FF-97E9-B0D0B7170339}" type="pres">
      <dgm:prSet presAssocID="{4A12D2B6-275D-445A-BE94-56F38849E2B6}" presName="rootComposite" presStyleCnt="0"/>
      <dgm:spPr/>
    </dgm:pt>
    <dgm:pt modelId="{07B64127-D279-42AF-9F81-A0C3350746D5}" type="pres">
      <dgm:prSet presAssocID="{4A12D2B6-275D-445A-BE94-56F38849E2B6}" presName="rootText" presStyleLbl="node3" presStyleIdx="1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351B9A3-47E1-43A6-BB37-F16FAFB9361E}" type="pres">
      <dgm:prSet presAssocID="{4A12D2B6-275D-445A-BE94-56F38849E2B6}" presName="rootConnector" presStyleLbl="node3" presStyleIdx="1" presStyleCnt="12"/>
      <dgm:spPr/>
      <dgm:t>
        <a:bodyPr/>
        <a:lstStyle/>
        <a:p>
          <a:endParaRPr lang="en-US"/>
        </a:p>
      </dgm:t>
    </dgm:pt>
    <dgm:pt modelId="{D2FF97B7-3B6D-4431-8ADD-662926D9F1C6}" type="pres">
      <dgm:prSet presAssocID="{4A12D2B6-275D-445A-BE94-56F38849E2B6}" presName="hierChild4" presStyleCnt="0"/>
      <dgm:spPr/>
    </dgm:pt>
    <dgm:pt modelId="{14107473-04DE-41EA-8F6E-521ECC548BCC}" type="pres">
      <dgm:prSet presAssocID="{4A12D2B6-275D-445A-BE94-56F38849E2B6}" presName="hierChild5" presStyleCnt="0"/>
      <dgm:spPr/>
    </dgm:pt>
    <dgm:pt modelId="{AFDD7FDC-36FC-470E-83E4-9846B99C85F0}" type="pres">
      <dgm:prSet presAssocID="{4DF61083-458F-414B-A337-439EB36DE2E8}" presName="Name37" presStyleLbl="parChTrans1D3" presStyleIdx="2" presStyleCnt="12"/>
      <dgm:spPr/>
      <dgm:t>
        <a:bodyPr/>
        <a:lstStyle/>
        <a:p>
          <a:endParaRPr lang="en-US"/>
        </a:p>
      </dgm:t>
    </dgm:pt>
    <dgm:pt modelId="{97CAF7AB-75E9-4867-969E-518DEC90FD6B}" type="pres">
      <dgm:prSet presAssocID="{52EBDAC2-A97B-49ED-921C-B24AF7BB790F}" presName="hierRoot2" presStyleCnt="0">
        <dgm:presLayoutVars>
          <dgm:hierBranch val="init"/>
        </dgm:presLayoutVars>
      </dgm:prSet>
      <dgm:spPr/>
    </dgm:pt>
    <dgm:pt modelId="{49469A5D-F810-47FD-9661-0AC3F963B370}" type="pres">
      <dgm:prSet presAssocID="{52EBDAC2-A97B-49ED-921C-B24AF7BB790F}" presName="rootComposite" presStyleCnt="0"/>
      <dgm:spPr/>
    </dgm:pt>
    <dgm:pt modelId="{A8558CBA-0850-40CC-92B8-8C63C7B64FCA}" type="pres">
      <dgm:prSet presAssocID="{52EBDAC2-A97B-49ED-921C-B24AF7BB790F}" presName="rootText" presStyleLbl="node3" presStyleIdx="2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106D51E-0101-4B1B-8CC5-B683709B0EA7}" type="pres">
      <dgm:prSet presAssocID="{52EBDAC2-A97B-49ED-921C-B24AF7BB790F}" presName="rootConnector" presStyleLbl="node3" presStyleIdx="2" presStyleCnt="12"/>
      <dgm:spPr/>
      <dgm:t>
        <a:bodyPr/>
        <a:lstStyle/>
        <a:p>
          <a:endParaRPr lang="en-US"/>
        </a:p>
      </dgm:t>
    </dgm:pt>
    <dgm:pt modelId="{7D2FA768-4C72-488A-9348-2E277F135C83}" type="pres">
      <dgm:prSet presAssocID="{52EBDAC2-A97B-49ED-921C-B24AF7BB790F}" presName="hierChild4" presStyleCnt="0"/>
      <dgm:spPr/>
    </dgm:pt>
    <dgm:pt modelId="{FA61815A-EFF5-46B3-98ED-149BACF4F2E5}" type="pres">
      <dgm:prSet presAssocID="{52EBDAC2-A97B-49ED-921C-B24AF7BB790F}" presName="hierChild5" presStyleCnt="0"/>
      <dgm:spPr/>
    </dgm:pt>
    <dgm:pt modelId="{BCE81266-573E-4EBA-A360-D7DB206A1D60}" type="pres">
      <dgm:prSet presAssocID="{622516FE-9154-40BB-A5F7-4660F6F1D882}" presName="Name37" presStyleLbl="parChTrans1D3" presStyleIdx="3" presStyleCnt="12"/>
      <dgm:spPr/>
      <dgm:t>
        <a:bodyPr/>
        <a:lstStyle/>
        <a:p>
          <a:endParaRPr lang="en-US"/>
        </a:p>
      </dgm:t>
    </dgm:pt>
    <dgm:pt modelId="{BA89D33A-8E8F-412D-A42A-E42A09147BDA}" type="pres">
      <dgm:prSet presAssocID="{2C1545B2-9BA6-4A32-A4FB-AA6200F841BE}" presName="hierRoot2" presStyleCnt="0">
        <dgm:presLayoutVars>
          <dgm:hierBranch val="init"/>
        </dgm:presLayoutVars>
      </dgm:prSet>
      <dgm:spPr/>
    </dgm:pt>
    <dgm:pt modelId="{DE5957DA-18C1-4DDE-A2E0-6805A79D2B93}" type="pres">
      <dgm:prSet presAssocID="{2C1545B2-9BA6-4A32-A4FB-AA6200F841BE}" presName="rootComposite" presStyleCnt="0"/>
      <dgm:spPr/>
    </dgm:pt>
    <dgm:pt modelId="{34EAC2E4-E739-4680-B5CB-82CC68E6EB2C}" type="pres">
      <dgm:prSet presAssocID="{2C1545B2-9BA6-4A32-A4FB-AA6200F841BE}" presName="rootText" presStyleLbl="node3" presStyleIdx="3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1DED9E6-EEE4-4D2D-B9A8-7BD3C8353D3B}" type="pres">
      <dgm:prSet presAssocID="{2C1545B2-9BA6-4A32-A4FB-AA6200F841BE}" presName="rootConnector" presStyleLbl="node3" presStyleIdx="3" presStyleCnt="12"/>
      <dgm:spPr/>
      <dgm:t>
        <a:bodyPr/>
        <a:lstStyle/>
        <a:p>
          <a:endParaRPr lang="en-US"/>
        </a:p>
      </dgm:t>
    </dgm:pt>
    <dgm:pt modelId="{F80F7BC8-390A-4D70-A065-3CD7045C0D71}" type="pres">
      <dgm:prSet presAssocID="{2C1545B2-9BA6-4A32-A4FB-AA6200F841BE}" presName="hierChild4" presStyleCnt="0"/>
      <dgm:spPr/>
    </dgm:pt>
    <dgm:pt modelId="{E9627367-6FAA-4D0D-933D-D2D8B097B775}" type="pres">
      <dgm:prSet presAssocID="{2C1545B2-9BA6-4A32-A4FB-AA6200F841BE}" presName="hierChild5" presStyleCnt="0"/>
      <dgm:spPr/>
    </dgm:pt>
    <dgm:pt modelId="{98D0BD70-195C-42FA-BFF8-933DA85133FE}" type="pres">
      <dgm:prSet presAssocID="{652184D4-94EA-4ADD-B263-92B1D1D7ADCD}" presName="hierChild5" presStyleCnt="0"/>
      <dgm:spPr/>
    </dgm:pt>
    <dgm:pt modelId="{3B1B660C-8FAD-4877-8258-515443411B56}" type="pres">
      <dgm:prSet presAssocID="{D96C9F85-6DF1-46E8-B7DB-9ED1550B364B}" presName="Name37" presStyleLbl="parChTrans1D2" presStyleIdx="1" presStyleCnt="3"/>
      <dgm:spPr/>
      <dgm:t>
        <a:bodyPr/>
        <a:lstStyle/>
        <a:p>
          <a:endParaRPr lang="en-US"/>
        </a:p>
      </dgm:t>
    </dgm:pt>
    <dgm:pt modelId="{E514CF7C-80D9-451C-A9DA-6812B1DB6892}" type="pres">
      <dgm:prSet presAssocID="{8B3F5830-12B8-46EA-81F4-8B3ACF4D2270}" presName="hierRoot2" presStyleCnt="0">
        <dgm:presLayoutVars>
          <dgm:hierBranch val="init"/>
        </dgm:presLayoutVars>
      </dgm:prSet>
      <dgm:spPr/>
    </dgm:pt>
    <dgm:pt modelId="{BFCD79BF-2E11-4770-9B4E-81B69EB7E458}" type="pres">
      <dgm:prSet presAssocID="{8B3F5830-12B8-46EA-81F4-8B3ACF4D2270}" presName="rootComposite" presStyleCnt="0"/>
      <dgm:spPr/>
    </dgm:pt>
    <dgm:pt modelId="{D727FE7F-FB70-48A2-8A78-9FE81BC69315}" type="pres">
      <dgm:prSet presAssocID="{8B3F5830-12B8-46EA-81F4-8B3ACF4D2270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2F29D12-6579-41F2-BB54-05CFD04044E9}" type="pres">
      <dgm:prSet presAssocID="{8B3F5830-12B8-46EA-81F4-8B3ACF4D2270}" presName="rootConnector" presStyleLbl="node2" presStyleIdx="1" presStyleCnt="3"/>
      <dgm:spPr/>
      <dgm:t>
        <a:bodyPr/>
        <a:lstStyle/>
        <a:p>
          <a:endParaRPr lang="en-US"/>
        </a:p>
      </dgm:t>
    </dgm:pt>
    <dgm:pt modelId="{305DFA2C-831D-4ABD-9A63-64A5A564E4F8}" type="pres">
      <dgm:prSet presAssocID="{8B3F5830-12B8-46EA-81F4-8B3ACF4D2270}" presName="hierChild4" presStyleCnt="0"/>
      <dgm:spPr/>
    </dgm:pt>
    <dgm:pt modelId="{4F7C7554-B813-4E48-8C4F-DCAF09BD5906}" type="pres">
      <dgm:prSet presAssocID="{22D86982-E6BD-4AA2-9D81-B2F8E9472061}" presName="Name37" presStyleLbl="parChTrans1D3" presStyleIdx="4" presStyleCnt="12"/>
      <dgm:spPr/>
      <dgm:t>
        <a:bodyPr/>
        <a:lstStyle/>
        <a:p>
          <a:endParaRPr lang="en-US"/>
        </a:p>
      </dgm:t>
    </dgm:pt>
    <dgm:pt modelId="{DB11C16E-6F59-433E-8951-4870D301B272}" type="pres">
      <dgm:prSet presAssocID="{B4CD6E0C-5B7C-422D-A834-0721117459E9}" presName="hierRoot2" presStyleCnt="0">
        <dgm:presLayoutVars>
          <dgm:hierBranch val="init"/>
        </dgm:presLayoutVars>
      </dgm:prSet>
      <dgm:spPr/>
    </dgm:pt>
    <dgm:pt modelId="{C68E7D33-48F4-4014-985A-4F5C0E841DDA}" type="pres">
      <dgm:prSet presAssocID="{B4CD6E0C-5B7C-422D-A834-0721117459E9}" presName="rootComposite" presStyleCnt="0"/>
      <dgm:spPr/>
    </dgm:pt>
    <dgm:pt modelId="{123E7230-AD02-4EDA-888B-58EF4A71B5B7}" type="pres">
      <dgm:prSet presAssocID="{B4CD6E0C-5B7C-422D-A834-0721117459E9}" presName="rootText" presStyleLbl="node3" presStyleIdx="4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C8FD367-54ED-4BDB-A004-5529B2299654}" type="pres">
      <dgm:prSet presAssocID="{B4CD6E0C-5B7C-422D-A834-0721117459E9}" presName="rootConnector" presStyleLbl="node3" presStyleIdx="4" presStyleCnt="12"/>
      <dgm:spPr/>
      <dgm:t>
        <a:bodyPr/>
        <a:lstStyle/>
        <a:p>
          <a:endParaRPr lang="en-US"/>
        </a:p>
      </dgm:t>
    </dgm:pt>
    <dgm:pt modelId="{E6895652-1097-4E65-997B-32C97839CD7C}" type="pres">
      <dgm:prSet presAssocID="{B4CD6E0C-5B7C-422D-A834-0721117459E9}" presName="hierChild4" presStyleCnt="0"/>
      <dgm:spPr/>
    </dgm:pt>
    <dgm:pt modelId="{73DF2405-745A-43A3-AB2C-92493DFFD2A4}" type="pres">
      <dgm:prSet presAssocID="{B4CD6E0C-5B7C-422D-A834-0721117459E9}" presName="hierChild5" presStyleCnt="0"/>
      <dgm:spPr/>
    </dgm:pt>
    <dgm:pt modelId="{3F924101-8DE2-4446-B95F-BA04683C8043}" type="pres">
      <dgm:prSet presAssocID="{FC1548C8-CB48-4E5C-A113-0F15401DCC4F}" presName="Name37" presStyleLbl="parChTrans1D3" presStyleIdx="5" presStyleCnt="12"/>
      <dgm:spPr/>
      <dgm:t>
        <a:bodyPr/>
        <a:lstStyle/>
        <a:p>
          <a:endParaRPr lang="en-US"/>
        </a:p>
      </dgm:t>
    </dgm:pt>
    <dgm:pt modelId="{DB2FD47A-CA51-4975-87B9-DAFE805C5E5C}" type="pres">
      <dgm:prSet presAssocID="{3F39EECA-72B3-4A09-A95F-0355EE6C50A0}" presName="hierRoot2" presStyleCnt="0">
        <dgm:presLayoutVars>
          <dgm:hierBranch val="init"/>
        </dgm:presLayoutVars>
      </dgm:prSet>
      <dgm:spPr/>
    </dgm:pt>
    <dgm:pt modelId="{B3BE1E3F-C43C-4982-8321-EE0B0282FC9F}" type="pres">
      <dgm:prSet presAssocID="{3F39EECA-72B3-4A09-A95F-0355EE6C50A0}" presName="rootComposite" presStyleCnt="0"/>
      <dgm:spPr/>
    </dgm:pt>
    <dgm:pt modelId="{095225D2-3CC3-4FFA-BC22-3824897F4E79}" type="pres">
      <dgm:prSet presAssocID="{3F39EECA-72B3-4A09-A95F-0355EE6C50A0}" presName="rootText" presStyleLbl="node3" presStyleIdx="5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B924C21-9151-48E9-BEA5-6E2DCB862058}" type="pres">
      <dgm:prSet presAssocID="{3F39EECA-72B3-4A09-A95F-0355EE6C50A0}" presName="rootConnector" presStyleLbl="node3" presStyleIdx="5" presStyleCnt="12"/>
      <dgm:spPr/>
      <dgm:t>
        <a:bodyPr/>
        <a:lstStyle/>
        <a:p>
          <a:endParaRPr lang="en-US"/>
        </a:p>
      </dgm:t>
    </dgm:pt>
    <dgm:pt modelId="{660B50A3-60F2-4C00-87F8-0F112ED61A89}" type="pres">
      <dgm:prSet presAssocID="{3F39EECA-72B3-4A09-A95F-0355EE6C50A0}" presName="hierChild4" presStyleCnt="0"/>
      <dgm:spPr/>
    </dgm:pt>
    <dgm:pt modelId="{320F678A-3175-4433-AEF3-E6D3E5412172}" type="pres">
      <dgm:prSet presAssocID="{3F39EECA-72B3-4A09-A95F-0355EE6C50A0}" presName="hierChild5" presStyleCnt="0"/>
      <dgm:spPr/>
    </dgm:pt>
    <dgm:pt modelId="{B2D826E1-8862-4EE3-8B67-D5E73BDE07BC}" type="pres">
      <dgm:prSet presAssocID="{EFEE2C8B-4AB8-456A-B727-932B01AD2585}" presName="Name37" presStyleLbl="parChTrans1D3" presStyleIdx="6" presStyleCnt="12"/>
      <dgm:spPr/>
      <dgm:t>
        <a:bodyPr/>
        <a:lstStyle/>
        <a:p>
          <a:endParaRPr lang="en-US"/>
        </a:p>
      </dgm:t>
    </dgm:pt>
    <dgm:pt modelId="{A2CED6B2-5C26-4D0D-B159-4E3F1833AECE}" type="pres">
      <dgm:prSet presAssocID="{F9232E09-52DC-48F3-8DE6-1A7AB9628993}" presName="hierRoot2" presStyleCnt="0">
        <dgm:presLayoutVars>
          <dgm:hierBranch val="init"/>
        </dgm:presLayoutVars>
      </dgm:prSet>
      <dgm:spPr/>
    </dgm:pt>
    <dgm:pt modelId="{D45FD032-E545-487E-AD80-62B319256BF8}" type="pres">
      <dgm:prSet presAssocID="{F9232E09-52DC-48F3-8DE6-1A7AB9628993}" presName="rootComposite" presStyleCnt="0"/>
      <dgm:spPr/>
    </dgm:pt>
    <dgm:pt modelId="{2B502816-F480-43B9-901C-618C2C610A16}" type="pres">
      <dgm:prSet presAssocID="{F9232E09-52DC-48F3-8DE6-1A7AB9628993}" presName="rootText" presStyleLbl="node3" presStyleIdx="6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06A8F02-ABCA-4502-8998-E0EAF11DEFFB}" type="pres">
      <dgm:prSet presAssocID="{F9232E09-52DC-48F3-8DE6-1A7AB9628993}" presName="rootConnector" presStyleLbl="node3" presStyleIdx="6" presStyleCnt="12"/>
      <dgm:spPr/>
      <dgm:t>
        <a:bodyPr/>
        <a:lstStyle/>
        <a:p>
          <a:endParaRPr lang="en-US"/>
        </a:p>
      </dgm:t>
    </dgm:pt>
    <dgm:pt modelId="{3A364882-BB8A-472A-89AC-8448910C84A3}" type="pres">
      <dgm:prSet presAssocID="{F9232E09-52DC-48F3-8DE6-1A7AB9628993}" presName="hierChild4" presStyleCnt="0"/>
      <dgm:spPr/>
    </dgm:pt>
    <dgm:pt modelId="{F109E234-5C8A-4F97-8C27-B2647743B055}" type="pres">
      <dgm:prSet presAssocID="{F9232E09-52DC-48F3-8DE6-1A7AB9628993}" presName="hierChild5" presStyleCnt="0"/>
      <dgm:spPr/>
    </dgm:pt>
    <dgm:pt modelId="{942EE879-4350-4B4B-B8EF-CAD5DC80523B}" type="pres">
      <dgm:prSet presAssocID="{B24AF362-BC08-4F68-B3F7-B6605C75FEA9}" presName="Name37" presStyleLbl="parChTrans1D3" presStyleIdx="7" presStyleCnt="12"/>
      <dgm:spPr/>
      <dgm:t>
        <a:bodyPr/>
        <a:lstStyle/>
        <a:p>
          <a:endParaRPr lang="en-US"/>
        </a:p>
      </dgm:t>
    </dgm:pt>
    <dgm:pt modelId="{9480E170-2063-4D78-BF65-A00039B944CB}" type="pres">
      <dgm:prSet presAssocID="{6E2BE031-513C-4158-92D6-B7A4EA3893AF}" presName="hierRoot2" presStyleCnt="0">
        <dgm:presLayoutVars>
          <dgm:hierBranch val="init"/>
        </dgm:presLayoutVars>
      </dgm:prSet>
      <dgm:spPr/>
    </dgm:pt>
    <dgm:pt modelId="{1C07E28D-86A4-4D44-B94E-0E541F3521E5}" type="pres">
      <dgm:prSet presAssocID="{6E2BE031-513C-4158-92D6-B7A4EA3893AF}" presName="rootComposite" presStyleCnt="0"/>
      <dgm:spPr/>
    </dgm:pt>
    <dgm:pt modelId="{12E47CD0-3F92-4472-B15F-404D3F07588F}" type="pres">
      <dgm:prSet presAssocID="{6E2BE031-513C-4158-92D6-B7A4EA3893AF}" presName="rootText" presStyleLbl="node3" presStyleIdx="7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7E511D20-3D2B-41F3-9E05-467105751146}" type="pres">
      <dgm:prSet presAssocID="{6E2BE031-513C-4158-92D6-B7A4EA3893AF}" presName="rootConnector" presStyleLbl="node3" presStyleIdx="7" presStyleCnt="12"/>
      <dgm:spPr/>
      <dgm:t>
        <a:bodyPr/>
        <a:lstStyle/>
        <a:p>
          <a:endParaRPr lang="en-US"/>
        </a:p>
      </dgm:t>
    </dgm:pt>
    <dgm:pt modelId="{FBF02389-C267-4B34-8DDF-1B9F1DCB69F5}" type="pres">
      <dgm:prSet presAssocID="{6E2BE031-513C-4158-92D6-B7A4EA3893AF}" presName="hierChild4" presStyleCnt="0"/>
      <dgm:spPr/>
    </dgm:pt>
    <dgm:pt modelId="{81B1A84C-3147-463B-91AE-049651E9B29E}" type="pres">
      <dgm:prSet presAssocID="{6E2BE031-513C-4158-92D6-B7A4EA3893AF}" presName="hierChild5" presStyleCnt="0"/>
      <dgm:spPr/>
    </dgm:pt>
    <dgm:pt modelId="{32408830-C73D-4478-9566-3BA73DA22CDD}" type="pres">
      <dgm:prSet presAssocID="{8B3F5830-12B8-46EA-81F4-8B3ACF4D2270}" presName="hierChild5" presStyleCnt="0"/>
      <dgm:spPr/>
    </dgm:pt>
    <dgm:pt modelId="{79FE4E2C-4668-4B1C-845F-9E50893E5E03}" type="pres">
      <dgm:prSet presAssocID="{BEA14192-A240-4FFD-B334-43280FA1830D}" presName="Name37" presStyleLbl="parChTrans1D2" presStyleIdx="2" presStyleCnt="3"/>
      <dgm:spPr/>
      <dgm:t>
        <a:bodyPr/>
        <a:lstStyle/>
        <a:p>
          <a:endParaRPr lang="en-US"/>
        </a:p>
      </dgm:t>
    </dgm:pt>
    <dgm:pt modelId="{531EBB3E-6BCC-4457-B819-BCE8BE4CAF5C}" type="pres">
      <dgm:prSet presAssocID="{A51EC03E-A32F-439E-9624-8D01EAFFDA47}" presName="hierRoot2" presStyleCnt="0">
        <dgm:presLayoutVars>
          <dgm:hierBranch val="init"/>
        </dgm:presLayoutVars>
      </dgm:prSet>
      <dgm:spPr/>
    </dgm:pt>
    <dgm:pt modelId="{1AE1ACC5-F57C-44AF-9737-9C5D0EEEDD62}" type="pres">
      <dgm:prSet presAssocID="{A51EC03E-A32F-439E-9624-8D01EAFFDA47}" presName="rootComposite" presStyleCnt="0"/>
      <dgm:spPr/>
    </dgm:pt>
    <dgm:pt modelId="{9EC910E2-9920-474E-BCA6-BA1D2A431337}" type="pres">
      <dgm:prSet presAssocID="{A51EC03E-A32F-439E-9624-8D01EAFFDA47}" presName="rootText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2D173BD4-9B72-4FA1-999E-CCCA4B3B2D07}" type="pres">
      <dgm:prSet presAssocID="{A51EC03E-A32F-439E-9624-8D01EAFFDA47}" presName="rootConnector" presStyleLbl="node2" presStyleIdx="2" presStyleCnt="3"/>
      <dgm:spPr/>
      <dgm:t>
        <a:bodyPr/>
        <a:lstStyle/>
        <a:p>
          <a:endParaRPr lang="en-US"/>
        </a:p>
      </dgm:t>
    </dgm:pt>
    <dgm:pt modelId="{BC3450CA-070F-4A11-ABBF-DD97E50BF140}" type="pres">
      <dgm:prSet presAssocID="{A51EC03E-A32F-439E-9624-8D01EAFFDA47}" presName="hierChild4" presStyleCnt="0"/>
      <dgm:spPr/>
    </dgm:pt>
    <dgm:pt modelId="{0281A62B-42CD-4209-AECC-395BF6E79550}" type="pres">
      <dgm:prSet presAssocID="{201F703D-018D-43C5-9824-8FE1ADD68A0C}" presName="Name37" presStyleLbl="parChTrans1D3" presStyleIdx="8" presStyleCnt="12"/>
      <dgm:spPr/>
      <dgm:t>
        <a:bodyPr/>
        <a:lstStyle/>
        <a:p>
          <a:endParaRPr lang="en-US"/>
        </a:p>
      </dgm:t>
    </dgm:pt>
    <dgm:pt modelId="{6082D005-0808-49A8-A2B7-B35100C64CDB}" type="pres">
      <dgm:prSet presAssocID="{4A24554E-6966-4833-AD10-43D9BD6AA4F0}" presName="hierRoot2" presStyleCnt="0">
        <dgm:presLayoutVars>
          <dgm:hierBranch val="init"/>
        </dgm:presLayoutVars>
      </dgm:prSet>
      <dgm:spPr/>
    </dgm:pt>
    <dgm:pt modelId="{0507753F-BC68-4E53-ABEC-3EEFE83D3B02}" type="pres">
      <dgm:prSet presAssocID="{4A24554E-6966-4833-AD10-43D9BD6AA4F0}" presName="rootComposite" presStyleCnt="0"/>
      <dgm:spPr/>
    </dgm:pt>
    <dgm:pt modelId="{CD724948-FDAB-40FB-93F0-BB133376568F}" type="pres">
      <dgm:prSet presAssocID="{4A24554E-6966-4833-AD10-43D9BD6AA4F0}" presName="rootText" presStyleLbl="node3" presStyleIdx="8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CBF83FD-C9F2-4DAF-8543-0A4F033E09A3}" type="pres">
      <dgm:prSet presAssocID="{4A24554E-6966-4833-AD10-43D9BD6AA4F0}" presName="rootConnector" presStyleLbl="node3" presStyleIdx="8" presStyleCnt="12"/>
      <dgm:spPr/>
      <dgm:t>
        <a:bodyPr/>
        <a:lstStyle/>
        <a:p>
          <a:endParaRPr lang="en-US"/>
        </a:p>
      </dgm:t>
    </dgm:pt>
    <dgm:pt modelId="{867FFC3D-C707-473D-B466-421467E8524B}" type="pres">
      <dgm:prSet presAssocID="{4A24554E-6966-4833-AD10-43D9BD6AA4F0}" presName="hierChild4" presStyleCnt="0"/>
      <dgm:spPr/>
    </dgm:pt>
    <dgm:pt modelId="{CECC473F-5328-47FC-A352-91BAD8A8C957}" type="pres">
      <dgm:prSet presAssocID="{4A24554E-6966-4833-AD10-43D9BD6AA4F0}" presName="hierChild5" presStyleCnt="0"/>
      <dgm:spPr/>
    </dgm:pt>
    <dgm:pt modelId="{9503890C-BA18-49E9-9FDC-9D8A361EE5FA}" type="pres">
      <dgm:prSet presAssocID="{18995A95-5C12-4C74-8A6C-C7A2E6E5EF5C}" presName="Name37" presStyleLbl="parChTrans1D3" presStyleIdx="9" presStyleCnt="12"/>
      <dgm:spPr/>
      <dgm:t>
        <a:bodyPr/>
        <a:lstStyle/>
        <a:p>
          <a:endParaRPr lang="en-US"/>
        </a:p>
      </dgm:t>
    </dgm:pt>
    <dgm:pt modelId="{C7D2B4CF-75A4-4487-8231-6CBBE7DFCAF5}" type="pres">
      <dgm:prSet presAssocID="{8D452F23-722A-45B8-A3B7-BD7341F95ECD}" presName="hierRoot2" presStyleCnt="0">
        <dgm:presLayoutVars>
          <dgm:hierBranch val="init"/>
        </dgm:presLayoutVars>
      </dgm:prSet>
      <dgm:spPr/>
    </dgm:pt>
    <dgm:pt modelId="{646034DF-669E-4729-B75A-3D8B60B27FB8}" type="pres">
      <dgm:prSet presAssocID="{8D452F23-722A-45B8-A3B7-BD7341F95ECD}" presName="rootComposite" presStyleCnt="0"/>
      <dgm:spPr/>
    </dgm:pt>
    <dgm:pt modelId="{41F91D73-D1F0-48EE-BB08-E7E0E9FFA7CE}" type="pres">
      <dgm:prSet presAssocID="{8D452F23-722A-45B8-A3B7-BD7341F95ECD}" presName="rootText" presStyleLbl="node3" presStyleIdx="9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8638DFA-6250-48B5-A7DA-CECEE52E4AD0}" type="pres">
      <dgm:prSet presAssocID="{8D452F23-722A-45B8-A3B7-BD7341F95ECD}" presName="rootConnector" presStyleLbl="node3" presStyleIdx="9" presStyleCnt="12"/>
      <dgm:spPr/>
      <dgm:t>
        <a:bodyPr/>
        <a:lstStyle/>
        <a:p>
          <a:endParaRPr lang="en-US"/>
        </a:p>
      </dgm:t>
    </dgm:pt>
    <dgm:pt modelId="{F6E27420-2428-4256-9E1B-BA98FE8EAA70}" type="pres">
      <dgm:prSet presAssocID="{8D452F23-722A-45B8-A3B7-BD7341F95ECD}" presName="hierChild4" presStyleCnt="0"/>
      <dgm:spPr/>
    </dgm:pt>
    <dgm:pt modelId="{47B6CBE2-6D3D-4D72-BD5E-9F4EBBFE8A5E}" type="pres">
      <dgm:prSet presAssocID="{8D452F23-722A-45B8-A3B7-BD7341F95ECD}" presName="hierChild5" presStyleCnt="0"/>
      <dgm:spPr/>
    </dgm:pt>
    <dgm:pt modelId="{A785743A-9234-4003-B80C-B019B3A12995}" type="pres">
      <dgm:prSet presAssocID="{9C97A999-1E43-425F-A23F-B396FD4CA59D}" presName="Name37" presStyleLbl="parChTrans1D3" presStyleIdx="10" presStyleCnt="12"/>
      <dgm:spPr/>
      <dgm:t>
        <a:bodyPr/>
        <a:lstStyle/>
        <a:p>
          <a:endParaRPr lang="en-US"/>
        </a:p>
      </dgm:t>
    </dgm:pt>
    <dgm:pt modelId="{7733DF28-6BCE-44DF-B01D-BB58C6AF90F5}" type="pres">
      <dgm:prSet presAssocID="{8EBD94F2-759E-446B-9840-8E07C9D71C77}" presName="hierRoot2" presStyleCnt="0">
        <dgm:presLayoutVars>
          <dgm:hierBranch val="init"/>
        </dgm:presLayoutVars>
      </dgm:prSet>
      <dgm:spPr/>
    </dgm:pt>
    <dgm:pt modelId="{7829B052-A779-47B0-A92F-A4C4C73DE7C7}" type="pres">
      <dgm:prSet presAssocID="{8EBD94F2-759E-446B-9840-8E07C9D71C77}" presName="rootComposite" presStyleCnt="0"/>
      <dgm:spPr/>
    </dgm:pt>
    <dgm:pt modelId="{08F70F84-F489-4C39-A449-6D0FA054DDFF}" type="pres">
      <dgm:prSet presAssocID="{8EBD94F2-759E-446B-9840-8E07C9D71C77}" presName="rootText" presStyleLbl="node3" presStyleIdx="10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5F05B28F-F8D5-4FB1-AC82-3D6C3D085A3B}" type="pres">
      <dgm:prSet presAssocID="{8EBD94F2-759E-446B-9840-8E07C9D71C77}" presName="rootConnector" presStyleLbl="node3" presStyleIdx="10" presStyleCnt="12"/>
      <dgm:spPr/>
      <dgm:t>
        <a:bodyPr/>
        <a:lstStyle/>
        <a:p>
          <a:endParaRPr lang="en-US"/>
        </a:p>
      </dgm:t>
    </dgm:pt>
    <dgm:pt modelId="{A6821E0E-D4C3-4368-BB7A-B244B80CCAAA}" type="pres">
      <dgm:prSet presAssocID="{8EBD94F2-759E-446B-9840-8E07C9D71C77}" presName="hierChild4" presStyleCnt="0"/>
      <dgm:spPr/>
    </dgm:pt>
    <dgm:pt modelId="{B0DCEF38-8851-4C49-9567-1284C49B735A}" type="pres">
      <dgm:prSet presAssocID="{8EBD94F2-759E-446B-9840-8E07C9D71C77}" presName="hierChild5" presStyleCnt="0"/>
      <dgm:spPr/>
    </dgm:pt>
    <dgm:pt modelId="{567F9F79-E396-40C6-850D-5E6C0994FD05}" type="pres">
      <dgm:prSet presAssocID="{3DCDB130-59EF-45D2-8B26-2C918F464687}" presName="Name37" presStyleLbl="parChTrans1D3" presStyleIdx="11" presStyleCnt="12"/>
      <dgm:spPr/>
      <dgm:t>
        <a:bodyPr/>
        <a:lstStyle/>
        <a:p>
          <a:endParaRPr lang="en-US"/>
        </a:p>
      </dgm:t>
    </dgm:pt>
    <dgm:pt modelId="{F87118D8-15FC-4ED9-8BB0-6DF963FEB535}" type="pres">
      <dgm:prSet presAssocID="{0BFB2DB1-EAD5-4039-B07C-71828E28E224}" presName="hierRoot2" presStyleCnt="0">
        <dgm:presLayoutVars>
          <dgm:hierBranch val="init"/>
        </dgm:presLayoutVars>
      </dgm:prSet>
      <dgm:spPr/>
    </dgm:pt>
    <dgm:pt modelId="{124622FA-DC75-4B36-8548-A661F0026086}" type="pres">
      <dgm:prSet presAssocID="{0BFB2DB1-EAD5-4039-B07C-71828E28E224}" presName="rootComposite" presStyleCnt="0"/>
      <dgm:spPr/>
    </dgm:pt>
    <dgm:pt modelId="{0F5E7265-C48C-4D5F-9FF4-A365B8207532}" type="pres">
      <dgm:prSet presAssocID="{0BFB2DB1-EAD5-4039-B07C-71828E28E224}" presName="rootText" presStyleLbl="node3" presStyleIdx="11" presStyleCnt="1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89057DE-7DD1-4E63-91F2-47D057581694}" type="pres">
      <dgm:prSet presAssocID="{0BFB2DB1-EAD5-4039-B07C-71828E28E224}" presName="rootConnector" presStyleLbl="node3" presStyleIdx="11" presStyleCnt="12"/>
      <dgm:spPr/>
      <dgm:t>
        <a:bodyPr/>
        <a:lstStyle/>
        <a:p>
          <a:endParaRPr lang="en-US"/>
        </a:p>
      </dgm:t>
    </dgm:pt>
    <dgm:pt modelId="{FB77A0F2-29AB-40D8-8810-0107E3FA9F01}" type="pres">
      <dgm:prSet presAssocID="{0BFB2DB1-EAD5-4039-B07C-71828E28E224}" presName="hierChild4" presStyleCnt="0"/>
      <dgm:spPr/>
    </dgm:pt>
    <dgm:pt modelId="{15C03709-4D21-47EB-970D-130AB41AF41D}" type="pres">
      <dgm:prSet presAssocID="{0BFB2DB1-EAD5-4039-B07C-71828E28E224}" presName="hierChild5" presStyleCnt="0"/>
      <dgm:spPr/>
    </dgm:pt>
    <dgm:pt modelId="{35EB3369-B47F-460D-B04F-98C4BAD53C60}" type="pres">
      <dgm:prSet presAssocID="{A51EC03E-A32F-439E-9624-8D01EAFFDA47}" presName="hierChild5" presStyleCnt="0"/>
      <dgm:spPr/>
    </dgm:pt>
    <dgm:pt modelId="{4BFD6640-5597-4D94-8F34-5C3AB2227813}" type="pres">
      <dgm:prSet presAssocID="{4C45C0E3-7860-4134-ACDE-E2B2E5365EB7}" presName="hierChild3" presStyleCnt="0"/>
      <dgm:spPr/>
    </dgm:pt>
  </dgm:ptLst>
  <dgm:cxnLst>
    <dgm:cxn modelId="{91B586BC-BDCE-4BA8-B612-30DB609201E5}" type="presOf" srcId="{22D86982-E6BD-4AA2-9D81-B2F8E9472061}" destId="{4F7C7554-B813-4E48-8C4F-DCAF09BD5906}" srcOrd="0" destOrd="0" presId="urn:microsoft.com/office/officeart/2005/8/layout/orgChart1"/>
    <dgm:cxn modelId="{BCACE14D-2A66-4A9E-A915-F46060EDFDA4}" srcId="{8B3F5830-12B8-46EA-81F4-8B3ACF4D2270}" destId="{3F39EECA-72B3-4A09-A95F-0355EE6C50A0}" srcOrd="1" destOrd="0" parTransId="{FC1548C8-CB48-4E5C-A113-0F15401DCC4F}" sibTransId="{33C293A8-7C40-4F80-8772-CE56A8639C1C}"/>
    <dgm:cxn modelId="{F3C1985C-53ED-4EBE-914E-10FD89769325}" type="presOf" srcId="{4C45C0E3-7860-4134-ACDE-E2B2E5365EB7}" destId="{E13B19ED-B462-4B8A-8D30-71A73F514939}" srcOrd="1" destOrd="0" presId="urn:microsoft.com/office/officeart/2005/8/layout/orgChart1"/>
    <dgm:cxn modelId="{0DB1E523-E1F4-4B6B-9EB0-0F760DAE5251}" type="presOf" srcId="{652184D4-94EA-4ADD-B263-92B1D1D7ADCD}" destId="{2BF6EF8B-D6CE-4BF5-9479-596E6654E1E9}" srcOrd="1" destOrd="0" presId="urn:microsoft.com/office/officeart/2005/8/layout/orgChart1"/>
    <dgm:cxn modelId="{E62E70ED-CC40-41F9-9936-EBB2FF00084C}" type="presOf" srcId="{631DBB7D-D546-4A03-9FA2-DCD602954E22}" destId="{44359947-087F-4CD9-A75C-A7405F02F739}" srcOrd="0" destOrd="0" presId="urn:microsoft.com/office/officeart/2005/8/layout/orgChart1"/>
    <dgm:cxn modelId="{1A2D6354-86F4-4A87-A396-284D951F848F}" type="presOf" srcId="{9C97A999-1E43-425F-A23F-B396FD4CA59D}" destId="{A785743A-9234-4003-B80C-B019B3A12995}" srcOrd="0" destOrd="0" presId="urn:microsoft.com/office/officeart/2005/8/layout/orgChart1"/>
    <dgm:cxn modelId="{4F7FC7C0-D900-4B90-9D26-BF070C19EB2F}" type="presOf" srcId="{3DCDB130-59EF-45D2-8B26-2C918F464687}" destId="{567F9F79-E396-40C6-850D-5E6C0994FD05}" srcOrd="0" destOrd="0" presId="urn:microsoft.com/office/officeart/2005/8/layout/orgChart1"/>
    <dgm:cxn modelId="{E06B3E85-D905-44FD-98AE-930357AC0D38}" type="presOf" srcId="{8D452F23-722A-45B8-A3B7-BD7341F95ECD}" destId="{18638DFA-6250-48B5-A7DA-CECEE52E4AD0}" srcOrd="1" destOrd="0" presId="urn:microsoft.com/office/officeart/2005/8/layout/orgChart1"/>
    <dgm:cxn modelId="{81EA2E0F-A154-45AC-977E-DAD60C80737F}" srcId="{4C45C0E3-7860-4134-ACDE-E2B2E5365EB7}" destId="{A51EC03E-A32F-439E-9624-8D01EAFFDA47}" srcOrd="2" destOrd="0" parTransId="{BEA14192-A240-4FFD-B334-43280FA1830D}" sibTransId="{67CA6A54-066E-4BC9-AD18-2B821E14C0A1}"/>
    <dgm:cxn modelId="{F11B7AAB-01A4-45B6-892D-9B31492E34E5}" srcId="{652184D4-94EA-4ADD-B263-92B1D1D7ADCD}" destId="{52EBDAC2-A97B-49ED-921C-B24AF7BB790F}" srcOrd="2" destOrd="0" parTransId="{4DF61083-458F-414B-A337-439EB36DE2E8}" sibTransId="{C30D5452-2A2E-4607-B3BD-1F178B4B91F5}"/>
    <dgm:cxn modelId="{4030EEBC-CA0B-4DE6-83F6-0A9A048E1429}" type="presOf" srcId="{A51EC03E-A32F-439E-9624-8D01EAFFDA47}" destId="{9EC910E2-9920-474E-BCA6-BA1D2A431337}" srcOrd="0" destOrd="0" presId="urn:microsoft.com/office/officeart/2005/8/layout/orgChart1"/>
    <dgm:cxn modelId="{EA991A23-545B-496B-A813-4E60E6CDEB56}" srcId="{4C45C0E3-7860-4134-ACDE-E2B2E5365EB7}" destId="{652184D4-94EA-4ADD-B263-92B1D1D7ADCD}" srcOrd="0" destOrd="0" parTransId="{631DBB7D-D546-4A03-9FA2-DCD602954E22}" sibTransId="{7695EBBF-9D43-4815-A5C5-8D287BAAD446}"/>
    <dgm:cxn modelId="{C615494E-7C21-416B-BFEB-8F7124FFB42C}" type="presOf" srcId="{201F703D-018D-43C5-9824-8FE1ADD68A0C}" destId="{0281A62B-42CD-4209-AECC-395BF6E79550}" srcOrd="0" destOrd="0" presId="urn:microsoft.com/office/officeart/2005/8/layout/orgChart1"/>
    <dgm:cxn modelId="{085CF9F1-8D05-4397-A869-B46862B722E6}" type="presOf" srcId="{622516FE-9154-40BB-A5F7-4660F6F1D882}" destId="{BCE81266-573E-4EBA-A360-D7DB206A1D60}" srcOrd="0" destOrd="0" presId="urn:microsoft.com/office/officeart/2005/8/layout/orgChart1"/>
    <dgm:cxn modelId="{180768BE-7F93-43BB-AB3E-5B43A82ED0B2}" srcId="{A51EC03E-A32F-439E-9624-8D01EAFFDA47}" destId="{8EBD94F2-759E-446B-9840-8E07C9D71C77}" srcOrd="2" destOrd="0" parTransId="{9C97A999-1E43-425F-A23F-B396FD4CA59D}" sibTransId="{782A3E0E-A838-4884-AA2C-D4FF2B7CFB8F}"/>
    <dgm:cxn modelId="{2C6862AF-20CF-4DD7-B21A-51C20A67695D}" type="presOf" srcId="{4A12D2B6-275D-445A-BE94-56F38849E2B6}" destId="{4351B9A3-47E1-43A6-BB37-F16FAFB9361E}" srcOrd="1" destOrd="0" presId="urn:microsoft.com/office/officeart/2005/8/layout/orgChart1"/>
    <dgm:cxn modelId="{50C5BFE2-C711-4612-8915-CC4E9D855C62}" type="presOf" srcId="{B4CD6E0C-5B7C-422D-A834-0721117459E9}" destId="{123E7230-AD02-4EDA-888B-58EF4A71B5B7}" srcOrd="0" destOrd="0" presId="urn:microsoft.com/office/officeart/2005/8/layout/orgChart1"/>
    <dgm:cxn modelId="{432AADAC-4A7B-4E0C-97AA-7E23F69D700A}" type="presOf" srcId="{437E4827-62F7-4B13-A23C-2EA9E579D7B7}" destId="{C05567D2-8223-49F7-9DCB-E148EF70122C}" srcOrd="0" destOrd="0" presId="urn:microsoft.com/office/officeart/2005/8/layout/orgChart1"/>
    <dgm:cxn modelId="{D09A0DEB-A5CC-4C99-9F4B-EEC8F67FDD17}" srcId="{8B3F5830-12B8-46EA-81F4-8B3ACF4D2270}" destId="{B4CD6E0C-5B7C-422D-A834-0721117459E9}" srcOrd="0" destOrd="0" parTransId="{22D86982-E6BD-4AA2-9D81-B2F8E9472061}" sibTransId="{D4DE6979-87DC-47D6-8860-629FED785CFF}"/>
    <dgm:cxn modelId="{26868598-A39E-4AAF-A6E4-BA49415EB6BD}" type="presOf" srcId="{3F39EECA-72B3-4A09-A95F-0355EE6C50A0}" destId="{095225D2-3CC3-4FFA-BC22-3824897F4E79}" srcOrd="0" destOrd="0" presId="urn:microsoft.com/office/officeart/2005/8/layout/orgChart1"/>
    <dgm:cxn modelId="{6C21A2B2-94C0-400F-8A75-51379F49F052}" type="presOf" srcId="{FEA8668B-E4F6-4C7B-B2DB-62EA88239CAB}" destId="{5C97715B-61B8-4036-A5F4-4E5A40150E2A}" srcOrd="1" destOrd="0" presId="urn:microsoft.com/office/officeart/2005/8/layout/orgChart1"/>
    <dgm:cxn modelId="{F65AF81C-AAD0-4D36-B68D-AB43BECB5DF6}" type="presOf" srcId="{BEA14192-A240-4FFD-B334-43280FA1830D}" destId="{79FE4E2C-4668-4B1C-845F-9E50893E5E03}" srcOrd="0" destOrd="0" presId="urn:microsoft.com/office/officeart/2005/8/layout/orgChart1"/>
    <dgm:cxn modelId="{FA4E847A-04E1-41AB-A57B-BFE453984039}" type="presOf" srcId="{18995A95-5C12-4C74-8A6C-C7A2E6E5EF5C}" destId="{9503890C-BA18-49E9-9FDC-9D8A361EE5FA}" srcOrd="0" destOrd="0" presId="urn:microsoft.com/office/officeart/2005/8/layout/orgChart1"/>
    <dgm:cxn modelId="{D72C29B0-B2DF-4A79-B8A8-41CF4A0D3290}" srcId="{437E4827-62F7-4B13-A23C-2EA9E579D7B7}" destId="{4C45C0E3-7860-4134-ACDE-E2B2E5365EB7}" srcOrd="0" destOrd="0" parTransId="{5BFC0088-1CAF-4CC6-92EC-3DBC8977B323}" sibTransId="{6126E7C0-654E-42F4-8E3C-D51850AC5C32}"/>
    <dgm:cxn modelId="{A407D325-9474-40DC-B957-8F48DBD7F2F4}" type="presOf" srcId="{A51EC03E-A32F-439E-9624-8D01EAFFDA47}" destId="{2D173BD4-9B72-4FA1-999E-CCCA4B3B2D07}" srcOrd="1" destOrd="0" presId="urn:microsoft.com/office/officeart/2005/8/layout/orgChart1"/>
    <dgm:cxn modelId="{7B59B54E-DAE2-46D7-99B7-1D2A1828A66A}" type="presOf" srcId="{52EBDAC2-A97B-49ED-921C-B24AF7BB790F}" destId="{A8558CBA-0850-40CC-92B8-8C63C7B64FCA}" srcOrd="0" destOrd="0" presId="urn:microsoft.com/office/officeart/2005/8/layout/orgChart1"/>
    <dgm:cxn modelId="{1251FFC5-D7A1-4E75-A2CA-EFE06C72165E}" type="presOf" srcId="{652184D4-94EA-4ADD-B263-92B1D1D7ADCD}" destId="{76B7DFB5-71DB-4414-A1E6-66E25BCEAB3A}" srcOrd="0" destOrd="0" presId="urn:microsoft.com/office/officeart/2005/8/layout/orgChart1"/>
    <dgm:cxn modelId="{9BDBB26B-5060-42EB-B437-E87B18146202}" type="presOf" srcId="{4DF61083-458F-414B-A337-439EB36DE2E8}" destId="{AFDD7FDC-36FC-470E-83E4-9846B99C85F0}" srcOrd="0" destOrd="0" presId="urn:microsoft.com/office/officeart/2005/8/layout/orgChart1"/>
    <dgm:cxn modelId="{852CB158-ACB4-49DF-8939-48DCD035CBF6}" srcId="{8B3F5830-12B8-46EA-81F4-8B3ACF4D2270}" destId="{F9232E09-52DC-48F3-8DE6-1A7AB9628993}" srcOrd="2" destOrd="0" parTransId="{EFEE2C8B-4AB8-456A-B727-932B01AD2585}" sibTransId="{F778965F-306D-4257-BCFD-5B7E8CE713FD}"/>
    <dgm:cxn modelId="{EAC6D0A3-F184-45DB-8E07-5DFCD3C8D296}" type="presOf" srcId="{8D452F23-722A-45B8-A3B7-BD7341F95ECD}" destId="{41F91D73-D1F0-48EE-BB08-E7E0E9FFA7CE}" srcOrd="0" destOrd="0" presId="urn:microsoft.com/office/officeart/2005/8/layout/orgChart1"/>
    <dgm:cxn modelId="{F3B39687-2F86-4511-B597-9CC275E4C5C7}" srcId="{8B3F5830-12B8-46EA-81F4-8B3ACF4D2270}" destId="{6E2BE031-513C-4158-92D6-B7A4EA3893AF}" srcOrd="3" destOrd="0" parTransId="{B24AF362-BC08-4F68-B3F7-B6605C75FEA9}" sibTransId="{D03882A8-75AD-4AE2-B634-A28E35918737}"/>
    <dgm:cxn modelId="{777B35C4-ABF6-4AB1-8FEB-AB6658C76A50}" srcId="{A51EC03E-A32F-439E-9624-8D01EAFFDA47}" destId="{4A24554E-6966-4833-AD10-43D9BD6AA4F0}" srcOrd="0" destOrd="0" parTransId="{201F703D-018D-43C5-9824-8FE1ADD68A0C}" sibTransId="{6D4BDFB2-85E7-4793-880E-D416A4E16182}"/>
    <dgm:cxn modelId="{5DBF43D8-402C-4534-9CEC-38C7A971F758}" type="presOf" srcId="{B24AF362-BC08-4F68-B3F7-B6605C75FEA9}" destId="{942EE879-4350-4B4B-B8EF-CAD5DC80523B}" srcOrd="0" destOrd="0" presId="urn:microsoft.com/office/officeart/2005/8/layout/orgChart1"/>
    <dgm:cxn modelId="{B8DE771B-DC90-413D-951B-55EDED0BE0D5}" type="presOf" srcId="{52EBDAC2-A97B-49ED-921C-B24AF7BB790F}" destId="{E106D51E-0101-4B1B-8CC5-B683709B0EA7}" srcOrd="1" destOrd="0" presId="urn:microsoft.com/office/officeart/2005/8/layout/orgChart1"/>
    <dgm:cxn modelId="{466A093B-F765-4A4B-B67D-200F578907DE}" type="presOf" srcId="{2C1545B2-9BA6-4A32-A4FB-AA6200F841BE}" destId="{34EAC2E4-E739-4680-B5CB-82CC68E6EB2C}" srcOrd="0" destOrd="0" presId="urn:microsoft.com/office/officeart/2005/8/layout/orgChart1"/>
    <dgm:cxn modelId="{79B9CB38-2EC4-47FC-A468-EBA38915F493}" srcId="{A51EC03E-A32F-439E-9624-8D01EAFFDA47}" destId="{8D452F23-722A-45B8-A3B7-BD7341F95ECD}" srcOrd="1" destOrd="0" parTransId="{18995A95-5C12-4C74-8A6C-C7A2E6E5EF5C}" sibTransId="{42CF5589-C0E0-481F-BDB3-90C073777AF1}"/>
    <dgm:cxn modelId="{325FBE93-A93A-43FE-9943-E81D6747CF77}" srcId="{652184D4-94EA-4ADD-B263-92B1D1D7ADCD}" destId="{2C1545B2-9BA6-4A32-A4FB-AA6200F841BE}" srcOrd="3" destOrd="0" parTransId="{622516FE-9154-40BB-A5F7-4660F6F1D882}" sibTransId="{E5CDCA68-E76F-4E57-A230-68B3F1405065}"/>
    <dgm:cxn modelId="{843B8686-4300-4AD8-9351-E479B7524199}" type="presOf" srcId="{0BFB2DB1-EAD5-4039-B07C-71828E28E224}" destId="{0F5E7265-C48C-4D5F-9FF4-A365B8207532}" srcOrd="0" destOrd="0" presId="urn:microsoft.com/office/officeart/2005/8/layout/orgChart1"/>
    <dgm:cxn modelId="{0018F5CF-C91E-49B1-8F0C-B7E28D349DDF}" type="presOf" srcId="{3F39EECA-72B3-4A09-A95F-0355EE6C50A0}" destId="{EB924C21-9151-48E9-BEA5-6E2DCB862058}" srcOrd="1" destOrd="0" presId="urn:microsoft.com/office/officeart/2005/8/layout/orgChart1"/>
    <dgm:cxn modelId="{943B1189-E762-496B-A038-8F667AD484E9}" type="presOf" srcId="{8EBD94F2-759E-446B-9840-8E07C9D71C77}" destId="{08F70F84-F489-4C39-A449-6D0FA054DDFF}" srcOrd="0" destOrd="0" presId="urn:microsoft.com/office/officeart/2005/8/layout/orgChart1"/>
    <dgm:cxn modelId="{9387FC06-0BD7-4E74-B625-805465C623D3}" srcId="{4C45C0E3-7860-4134-ACDE-E2B2E5365EB7}" destId="{8B3F5830-12B8-46EA-81F4-8B3ACF4D2270}" srcOrd="1" destOrd="0" parTransId="{D96C9F85-6DF1-46E8-B7DB-9ED1550B364B}" sibTransId="{E8716057-A6AE-41A9-A030-81BF206A99CE}"/>
    <dgm:cxn modelId="{84C6826C-2C11-49F0-A8B7-A21DA61490EA}" type="presOf" srcId="{7D13340F-5616-454A-8491-E37DCAB9BC2B}" destId="{B998986C-6B01-4403-9DB8-9BB4110C43DA}" srcOrd="0" destOrd="0" presId="urn:microsoft.com/office/officeart/2005/8/layout/orgChart1"/>
    <dgm:cxn modelId="{76BA0B3B-1F70-4455-9BF7-6EA8F14CE8E4}" srcId="{652184D4-94EA-4ADD-B263-92B1D1D7ADCD}" destId="{4A12D2B6-275D-445A-BE94-56F38849E2B6}" srcOrd="1" destOrd="0" parTransId="{7D13340F-5616-454A-8491-E37DCAB9BC2B}" sibTransId="{7B70ACF2-CC76-40A8-9A35-4AD2DA22DCA6}"/>
    <dgm:cxn modelId="{D9655B92-E327-414A-9C19-DA1C7423A58B}" type="presOf" srcId="{8B3F5830-12B8-46EA-81F4-8B3ACF4D2270}" destId="{D727FE7F-FB70-48A2-8A78-9FE81BC69315}" srcOrd="0" destOrd="0" presId="urn:microsoft.com/office/officeart/2005/8/layout/orgChart1"/>
    <dgm:cxn modelId="{5A728322-AAB4-4142-9D3B-04C023FBCE4B}" srcId="{A51EC03E-A32F-439E-9624-8D01EAFFDA47}" destId="{0BFB2DB1-EAD5-4039-B07C-71828E28E224}" srcOrd="3" destOrd="0" parTransId="{3DCDB130-59EF-45D2-8B26-2C918F464687}" sibTransId="{40FF49D0-7CC4-4043-9E26-28F82C07B23E}"/>
    <dgm:cxn modelId="{034602AE-492E-4CD0-9AAC-FA6F14F2D61E}" type="presOf" srcId="{EFEE2C8B-4AB8-456A-B727-932B01AD2585}" destId="{B2D826E1-8862-4EE3-8B67-D5E73BDE07BC}" srcOrd="0" destOrd="0" presId="urn:microsoft.com/office/officeart/2005/8/layout/orgChart1"/>
    <dgm:cxn modelId="{17302AD1-55E6-42C0-BEAF-5E6318D2F55E}" type="presOf" srcId="{6E2BE031-513C-4158-92D6-B7A4EA3893AF}" destId="{7E511D20-3D2B-41F3-9E05-467105751146}" srcOrd="1" destOrd="0" presId="urn:microsoft.com/office/officeart/2005/8/layout/orgChart1"/>
    <dgm:cxn modelId="{82B33372-573E-4DED-BD19-255642379575}" srcId="{652184D4-94EA-4ADD-B263-92B1D1D7ADCD}" destId="{FEA8668B-E4F6-4C7B-B2DB-62EA88239CAB}" srcOrd="0" destOrd="0" parTransId="{E8624480-E91B-4BED-A544-4148DA0E83EA}" sibTransId="{9B68BBDF-8960-403C-A107-9EA3BDC377C9}"/>
    <dgm:cxn modelId="{850E6EC6-9A25-489C-95EE-3E05FEDA4A3F}" type="presOf" srcId="{0BFB2DB1-EAD5-4039-B07C-71828E28E224}" destId="{989057DE-7DD1-4E63-91F2-47D057581694}" srcOrd="1" destOrd="0" presId="urn:microsoft.com/office/officeart/2005/8/layout/orgChart1"/>
    <dgm:cxn modelId="{54D83FE5-01CC-43DB-9BCC-6A7AACD680D9}" type="presOf" srcId="{B4CD6E0C-5B7C-422D-A834-0721117459E9}" destId="{5C8FD367-54ED-4BDB-A004-5529B2299654}" srcOrd="1" destOrd="0" presId="urn:microsoft.com/office/officeart/2005/8/layout/orgChart1"/>
    <dgm:cxn modelId="{01EF2887-78DE-46E7-937E-D73676B6279B}" type="presOf" srcId="{F9232E09-52DC-48F3-8DE6-1A7AB9628993}" destId="{2B502816-F480-43B9-901C-618C2C610A16}" srcOrd="0" destOrd="0" presId="urn:microsoft.com/office/officeart/2005/8/layout/orgChart1"/>
    <dgm:cxn modelId="{9838CA93-0841-4BBD-8025-7403990EC427}" type="presOf" srcId="{6E2BE031-513C-4158-92D6-B7A4EA3893AF}" destId="{12E47CD0-3F92-4472-B15F-404D3F07588F}" srcOrd="0" destOrd="0" presId="urn:microsoft.com/office/officeart/2005/8/layout/orgChart1"/>
    <dgm:cxn modelId="{C4EEE19D-C4BD-44FC-81A5-2D92F99389C1}" type="presOf" srcId="{4A24554E-6966-4833-AD10-43D9BD6AA4F0}" destId="{CD724948-FDAB-40FB-93F0-BB133376568F}" srcOrd="0" destOrd="0" presId="urn:microsoft.com/office/officeart/2005/8/layout/orgChart1"/>
    <dgm:cxn modelId="{77D02274-05E0-40BB-AB32-1453FCD1FCDB}" type="presOf" srcId="{8EBD94F2-759E-446B-9840-8E07C9D71C77}" destId="{5F05B28F-F8D5-4FB1-AC82-3D6C3D085A3B}" srcOrd="1" destOrd="0" presId="urn:microsoft.com/office/officeart/2005/8/layout/orgChart1"/>
    <dgm:cxn modelId="{14FD2481-7A00-4DC5-B9FE-9C1F16B9A045}" type="presOf" srcId="{4C45C0E3-7860-4134-ACDE-E2B2E5365EB7}" destId="{25D464CE-C410-4B55-9C85-EEB64AD06FB5}" srcOrd="0" destOrd="0" presId="urn:microsoft.com/office/officeart/2005/8/layout/orgChart1"/>
    <dgm:cxn modelId="{D77BEC75-6E23-4228-A1B2-6786272CA1C4}" type="presOf" srcId="{FC1548C8-CB48-4E5C-A113-0F15401DCC4F}" destId="{3F924101-8DE2-4446-B95F-BA04683C8043}" srcOrd="0" destOrd="0" presId="urn:microsoft.com/office/officeart/2005/8/layout/orgChart1"/>
    <dgm:cxn modelId="{3D3F3A90-0E9F-4534-967E-1CC04FC6661F}" type="presOf" srcId="{E8624480-E91B-4BED-A544-4148DA0E83EA}" destId="{BDF6EE11-F6FF-4A91-93BC-65B4B8D9A1BE}" srcOrd="0" destOrd="0" presId="urn:microsoft.com/office/officeart/2005/8/layout/orgChart1"/>
    <dgm:cxn modelId="{3BA80C75-3AC7-409F-83B4-C751B19BCA0F}" type="presOf" srcId="{FEA8668B-E4F6-4C7B-B2DB-62EA88239CAB}" destId="{9C89A9C3-6C91-42CC-A2A5-0B68D4198168}" srcOrd="0" destOrd="0" presId="urn:microsoft.com/office/officeart/2005/8/layout/orgChart1"/>
    <dgm:cxn modelId="{DC7D73B7-FF61-46C7-8F61-72437FF9DECD}" type="presOf" srcId="{4A12D2B6-275D-445A-BE94-56F38849E2B6}" destId="{07B64127-D279-42AF-9F81-A0C3350746D5}" srcOrd="0" destOrd="0" presId="urn:microsoft.com/office/officeart/2005/8/layout/orgChart1"/>
    <dgm:cxn modelId="{BD68C69F-00C7-44C3-89C7-95EC99AF2913}" type="presOf" srcId="{F9232E09-52DC-48F3-8DE6-1A7AB9628993}" destId="{206A8F02-ABCA-4502-8998-E0EAF11DEFFB}" srcOrd="1" destOrd="0" presId="urn:microsoft.com/office/officeart/2005/8/layout/orgChart1"/>
    <dgm:cxn modelId="{F84A7714-D32E-4A2C-84C8-6E6F2C6AC1B0}" type="presOf" srcId="{8B3F5830-12B8-46EA-81F4-8B3ACF4D2270}" destId="{92F29D12-6579-41F2-BB54-05CFD04044E9}" srcOrd="1" destOrd="0" presId="urn:microsoft.com/office/officeart/2005/8/layout/orgChart1"/>
    <dgm:cxn modelId="{6D4D7D3A-8622-48C0-83D1-DCA11A9175FE}" type="presOf" srcId="{4A24554E-6966-4833-AD10-43D9BD6AA4F0}" destId="{ECBF83FD-C9F2-4DAF-8543-0A4F033E09A3}" srcOrd="1" destOrd="0" presId="urn:microsoft.com/office/officeart/2005/8/layout/orgChart1"/>
    <dgm:cxn modelId="{C65E9E64-D88D-40CF-A773-AADAFA9EF3C6}" type="presOf" srcId="{D96C9F85-6DF1-46E8-B7DB-9ED1550B364B}" destId="{3B1B660C-8FAD-4877-8258-515443411B56}" srcOrd="0" destOrd="0" presId="urn:microsoft.com/office/officeart/2005/8/layout/orgChart1"/>
    <dgm:cxn modelId="{2CA4F486-AEDA-4B4C-9EB4-AA60A6579947}" type="presOf" srcId="{2C1545B2-9BA6-4A32-A4FB-AA6200F841BE}" destId="{91DED9E6-EEE4-4D2D-B9A8-7BD3C8353D3B}" srcOrd="1" destOrd="0" presId="urn:microsoft.com/office/officeart/2005/8/layout/orgChart1"/>
    <dgm:cxn modelId="{6F7AF4B6-C0D1-48E3-89D6-A1863EA15882}" type="presParOf" srcId="{C05567D2-8223-49F7-9DCB-E148EF70122C}" destId="{B78F02E0-4D5B-44B4-B93C-9BE23416369A}" srcOrd="0" destOrd="0" presId="urn:microsoft.com/office/officeart/2005/8/layout/orgChart1"/>
    <dgm:cxn modelId="{50A556F0-1380-47A4-A626-95E93AB0050B}" type="presParOf" srcId="{B78F02E0-4D5B-44B4-B93C-9BE23416369A}" destId="{D4BA3CE9-C976-4B13-A593-3FADA809C254}" srcOrd="0" destOrd="0" presId="urn:microsoft.com/office/officeart/2005/8/layout/orgChart1"/>
    <dgm:cxn modelId="{DFD4785B-98B1-4522-87ED-52FDAA980AF4}" type="presParOf" srcId="{D4BA3CE9-C976-4B13-A593-3FADA809C254}" destId="{25D464CE-C410-4B55-9C85-EEB64AD06FB5}" srcOrd="0" destOrd="0" presId="urn:microsoft.com/office/officeart/2005/8/layout/orgChart1"/>
    <dgm:cxn modelId="{2414F6E3-95DF-4F20-8DDA-52CDF391A7E4}" type="presParOf" srcId="{D4BA3CE9-C976-4B13-A593-3FADA809C254}" destId="{E13B19ED-B462-4B8A-8D30-71A73F514939}" srcOrd="1" destOrd="0" presId="urn:microsoft.com/office/officeart/2005/8/layout/orgChart1"/>
    <dgm:cxn modelId="{FBD7FB94-DC2B-4425-994B-772CABBEF5BE}" type="presParOf" srcId="{B78F02E0-4D5B-44B4-B93C-9BE23416369A}" destId="{BC97566B-A0E9-4C1E-8AE0-245E69982967}" srcOrd="1" destOrd="0" presId="urn:microsoft.com/office/officeart/2005/8/layout/orgChart1"/>
    <dgm:cxn modelId="{F0F26D8D-1878-418D-93E8-0FD597DF04E9}" type="presParOf" srcId="{BC97566B-A0E9-4C1E-8AE0-245E69982967}" destId="{44359947-087F-4CD9-A75C-A7405F02F739}" srcOrd="0" destOrd="0" presId="urn:microsoft.com/office/officeart/2005/8/layout/orgChart1"/>
    <dgm:cxn modelId="{9BCC1684-24AE-40C2-A55F-50FC5D326FDE}" type="presParOf" srcId="{BC97566B-A0E9-4C1E-8AE0-245E69982967}" destId="{2C707351-EFD4-47E4-8AE3-BC0B1448A202}" srcOrd="1" destOrd="0" presId="urn:microsoft.com/office/officeart/2005/8/layout/orgChart1"/>
    <dgm:cxn modelId="{13423344-A4BE-445F-B969-13919ADE8634}" type="presParOf" srcId="{2C707351-EFD4-47E4-8AE3-BC0B1448A202}" destId="{2EC6DD49-A5DD-4E43-BC20-1734DFEE6E63}" srcOrd="0" destOrd="0" presId="urn:microsoft.com/office/officeart/2005/8/layout/orgChart1"/>
    <dgm:cxn modelId="{027A2B02-D79D-4E0A-B315-CAD43CE9CBA2}" type="presParOf" srcId="{2EC6DD49-A5DD-4E43-BC20-1734DFEE6E63}" destId="{76B7DFB5-71DB-4414-A1E6-66E25BCEAB3A}" srcOrd="0" destOrd="0" presId="urn:microsoft.com/office/officeart/2005/8/layout/orgChart1"/>
    <dgm:cxn modelId="{09A6624D-9A85-4796-B410-D8F86F5A8265}" type="presParOf" srcId="{2EC6DD49-A5DD-4E43-BC20-1734DFEE6E63}" destId="{2BF6EF8B-D6CE-4BF5-9479-596E6654E1E9}" srcOrd="1" destOrd="0" presId="urn:microsoft.com/office/officeart/2005/8/layout/orgChart1"/>
    <dgm:cxn modelId="{592496B8-EC74-472C-A4CC-4B2ADD0B846E}" type="presParOf" srcId="{2C707351-EFD4-47E4-8AE3-BC0B1448A202}" destId="{B3ED6730-5037-453C-A7BB-5D1A0DFBC02B}" srcOrd="1" destOrd="0" presId="urn:microsoft.com/office/officeart/2005/8/layout/orgChart1"/>
    <dgm:cxn modelId="{744739E5-8FC8-47ED-A0D6-9D1A7F3A1AE2}" type="presParOf" srcId="{B3ED6730-5037-453C-A7BB-5D1A0DFBC02B}" destId="{BDF6EE11-F6FF-4A91-93BC-65B4B8D9A1BE}" srcOrd="0" destOrd="0" presId="urn:microsoft.com/office/officeart/2005/8/layout/orgChart1"/>
    <dgm:cxn modelId="{67456FC1-83F6-4FAE-99BE-60F2BD7C0E12}" type="presParOf" srcId="{B3ED6730-5037-453C-A7BB-5D1A0DFBC02B}" destId="{5E0C30F0-EA16-47F1-9E85-AD3B6BF4257F}" srcOrd="1" destOrd="0" presId="urn:microsoft.com/office/officeart/2005/8/layout/orgChart1"/>
    <dgm:cxn modelId="{BBCB10F9-69A8-4672-89C7-4AC25CF5A313}" type="presParOf" srcId="{5E0C30F0-EA16-47F1-9E85-AD3B6BF4257F}" destId="{C6D1BDAA-6ACC-4226-8600-4079DC2BE59E}" srcOrd="0" destOrd="0" presId="urn:microsoft.com/office/officeart/2005/8/layout/orgChart1"/>
    <dgm:cxn modelId="{1D875953-CFB9-482D-9917-BFF9EED016DE}" type="presParOf" srcId="{C6D1BDAA-6ACC-4226-8600-4079DC2BE59E}" destId="{9C89A9C3-6C91-42CC-A2A5-0B68D4198168}" srcOrd="0" destOrd="0" presId="urn:microsoft.com/office/officeart/2005/8/layout/orgChart1"/>
    <dgm:cxn modelId="{6B1B5E2E-D42A-4263-9981-9236558C5F78}" type="presParOf" srcId="{C6D1BDAA-6ACC-4226-8600-4079DC2BE59E}" destId="{5C97715B-61B8-4036-A5F4-4E5A40150E2A}" srcOrd="1" destOrd="0" presId="urn:microsoft.com/office/officeart/2005/8/layout/orgChart1"/>
    <dgm:cxn modelId="{0C918E37-4D17-4486-A1FF-7D57AA0CAFF1}" type="presParOf" srcId="{5E0C30F0-EA16-47F1-9E85-AD3B6BF4257F}" destId="{9C19B9DC-F3A5-4101-89FF-22FE42F13EB1}" srcOrd="1" destOrd="0" presId="urn:microsoft.com/office/officeart/2005/8/layout/orgChart1"/>
    <dgm:cxn modelId="{5C413F1E-180E-44D2-B801-43A3B2C7EEA7}" type="presParOf" srcId="{5E0C30F0-EA16-47F1-9E85-AD3B6BF4257F}" destId="{BDA31A1F-3B1C-481B-8BC4-8034EEC4B621}" srcOrd="2" destOrd="0" presId="urn:microsoft.com/office/officeart/2005/8/layout/orgChart1"/>
    <dgm:cxn modelId="{C786520F-13D5-40B7-A812-42CFA6A37134}" type="presParOf" srcId="{B3ED6730-5037-453C-A7BB-5D1A0DFBC02B}" destId="{B998986C-6B01-4403-9DB8-9BB4110C43DA}" srcOrd="2" destOrd="0" presId="urn:microsoft.com/office/officeart/2005/8/layout/orgChart1"/>
    <dgm:cxn modelId="{EC20C665-4CB2-4F75-B0E4-B69299B2AD48}" type="presParOf" srcId="{B3ED6730-5037-453C-A7BB-5D1A0DFBC02B}" destId="{8C3B54B2-1A8F-486C-9828-E54226B1D8FD}" srcOrd="3" destOrd="0" presId="urn:microsoft.com/office/officeart/2005/8/layout/orgChart1"/>
    <dgm:cxn modelId="{ABFF9C34-2623-490E-AAC7-EBE46355C8E0}" type="presParOf" srcId="{8C3B54B2-1A8F-486C-9828-E54226B1D8FD}" destId="{E55177C9-C834-49FF-97E9-B0D0B7170339}" srcOrd="0" destOrd="0" presId="urn:microsoft.com/office/officeart/2005/8/layout/orgChart1"/>
    <dgm:cxn modelId="{F664EF26-4DAC-4545-8363-3E25741117A5}" type="presParOf" srcId="{E55177C9-C834-49FF-97E9-B0D0B7170339}" destId="{07B64127-D279-42AF-9F81-A0C3350746D5}" srcOrd="0" destOrd="0" presId="urn:microsoft.com/office/officeart/2005/8/layout/orgChart1"/>
    <dgm:cxn modelId="{320962BF-9C25-4E99-B4CB-E7FC7647531B}" type="presParOf" srcId="{E55177C9-C834-49FF-97E9-B0D0B7170339}" destId="{4351B9A3-47E1-43A6-BB37-F16FAFB9361E}" srcOrd="1" destOrd="0" presId="urn:microsoft.com/office/officeart/2005/8/layout/orgChart1"/>
    <dgm:cxn modelId="{B97E588E-15C1-418C-80C3-80706253A6E1}" type="presParOf" srcId="{8C3B54B2-1A8F-486C-9828-E54226B1D8FD}" destId="{D2FF97B7-3B6D-4431-8ADD-662926D9F1C6}" srcOrd="1" destOrd="0" presId="urn:microsoft.com/office/officeart/2005/8/layout/orgChart1"/>
    <dgm:cxn modelId="{4ABD9819-6D4D-43E5-BD21-A1409ADA0496}" type="presParOf" srcId="{8C3B54B2-1A8F-486C-9828-E54226B1D8FD}" destId="{14107473-04DE-41EA-8F6E-521ECC548BCC}" srcOrd="2" destOrd="0" presId="urn:microsoft.com/office/officeart/2005/8/layout/orgChart1"/>
    <dgm:cxn modelId="{6A946F56-EB83-4072-BA65-234151350F55}" type="presParOf" srcId="{B3ED6730-5037-453C-A7BB-5D1A0DFBC02B}" destId="{AFDD7FDC-36FC-470E-83E4-9846B99C85F0}" srcOrd="4" destOrd="0" presId="urn:microsoft.com/office/officeart/2005/8/layout/orgChart1"/>
    <dgm:cxn modelId="{20F13D1E-0299-4B33-B3F5-A84F446DC0F0}" type="presParOf" srcId="{B3ED6730-5037-453C-A7BB-5D1A0DFBC02B}" destId="{97CAF7AB-75E9-4867-969E-518DEC90FD6B}" srcOrd="5" destOrd="0" presId="urn:microsoft.com/office/officeart/2005/8/layout/orgChart1"/>
    <dgm:cxn modelId="{F0EAAA84-F7FE-4842-AC8F-D6B5D050DD69}" type="presParOf" srcId="{97CAF7AB-75E9-4867-969E-518DEC90FD6B}" destId="{49469A5D-F810-47FD-9661-0AC3F963B370}" srcOrd="0" destOrd="0" presId="urn:microsoft.com/office/officeart/2005/8/layout/orgChart1"/>
    <dgm:cxn modelId="{4E163277-1455-4657-9C88-018A18E57093}" type="presParOf" srcId="{49469A5D-F810-47FD-9661-0AC3F963B370}" destId="{A8558CBA-0850-40CC-92B8-8C63C7B64FCA}" srcOrd="0" destOrd="0" presId="urn:microsoft.com/office/officeart/2005/8/layout/orgChart1"/>
    <dgm:cxn modelId="{6B5B1461-EE47-4891-8431-188A3FB8A7A4}" type="presParOf" srcId="{49469A5D-F810-47FD-9661-0AC3F963B370}" destId="{E106D51E-0101-4B1B-8CC5-B683709B0EA7}" srcOrd="1" destOrd="0" presId="urn:microsoft.com/office/officeart/2005/8/layout/orgChart1"/>
    <dgm:cxn modelId="{755BDAB7-80B7-4448-B75A-258B8C2F9BA9}" type="presParOf" srcId="{97CAF7AB-75E9-4867-969E-518DEC90FD6B}" destId="{7D2FA768-4C72-488A-9348-2E277F135C83}" srcOrd="1" destOrd="0" presId="urn:microsoft.com/office/officeart/2005/8/layout/orgChart1"/>
    <dgm:cxn modelId="{0DB126D7-66B5-4B92-9672-D3819B62210A}" type="presParOf" srcId="{97CAF7AB-75E9-4867-969E-518DEC90FD6B}" destId="{FA61815A-EFF5-46B3-98ED-149BACF4F2E5}" srcOrd="2" destOrd="0" presId="urn:microsoft.com/office/officeart/2005/8/layout/orgChart1"/>
    <dgm:cxn modelId="{E0ED79AD-926B-422D-BFA7-E9B1FDB1E8E6}" type="presParOf" srcId="{B3ED6730-5037-453C-A7BB-5D1A0DFBC02B}" destId="{BCE81266-573E-4EBA-A360-D7DB206A1D60}" srcOrd="6" destOrd="0" presId="urn:microsoft.com/office/officeart/2005/8/layout/orgChart1"/>
    <dgm:cxn modelId="{0BD06826-C617-4DC8-A196-EDB4C7FB98B6}" type="presParOf" srcId="{B3ED6730-5037-453C-A7BB-5D1A0DFBC02B}" destId="{BA89D33A-8E8F-412D-A42A-E42A09147BDA}" srcOrd="7" destOrd="0" presId="urn:microsoft.com/office/officeart/2005/8/layout/orgChart1"/>
    <dgm:cxn modelId="{EF28553D-EF12-45FE-929A-7DF2D17ED6C5}" type="presParOf" srcId="{BA89D33A-8E8F-412D-A42A-E42A09147BDA}" destId="{DE5957DA-18C1-4DDE-A2E0-6805A79D2B93}" srcOrd="0" destOrd="0" presId="urn:microsoft.com/office/officeart/2005/8/layout/orgChart1"/>
    <dgm:cxn modelId="{8120A1E0-F2F0-455F-8979-FF6841F24324}" type="presParOf" srcId="{DE5957DA-18C1-4DDE-A2E0-6805A79D2B93}" destId="{34EAC2E4-E739-4680-B5CB-82CC68E6EB2C}" srcOrd="0" destOrd="0" presId="urn:microsoft.com/office/officeart/2005/8/layout/orgChart1"/>
    <dgm:cxn modelId="{AE0E0F83-49DA-4B57-A6A2-CB7E364BB51F}" type="presParOf" srcId="{DE5957DA-18C1-4DDE-A2E0-6805A79D2B93}" destId="{91DED9E6-EEE4-4D2D-B9A8-7BD3C8353D3B}" srcOrd="1" destOrd="0" presId="urn:microsoft.com/office/officeart/2005/8/layout/orgChart1"/>
    <dgm:cxn modelId="{6083ED57-DD7E-47C4-9D8A-CC41A8B886EA}" type="presParOf" srcId="{BA89D33A-8E8F-412D-A42A-E42A09147BDA}" destId="{F80F7BC8-390A-4D70-A065-3CD7045C0D71}" srcOrd="1" destOrd="0" presId="urn:microsoft.com/office/officeart/2005/8/layout/orgChart1"/>
    <dgm:cxn modelId="{67EC1FC4-38EF-4D45-9783-F2C05B41F4B2}" type="presParOf" srcId="{BA89D33A-8E8F-412D-A42A-E42A09147BDA}" destId="{E9627367-6FAA-4D0D-933D-D2D8B097B775}" srcOrd="2" destOrd="0" presId="urn:microsoft.com/office/officeart/2005/8/layout/orgChart1"/>
    <dgm:cxn modelId="{DEF93105-4DA7-4915-B55E-7D2D5BB39718}" type="presParOf" srcId="{2C707351-EFD4-47E4-8AE3-BC0B1448A202}" destId="{98D0BD70-195C-42FA-BFF8-933DA85133FE}" srcOrd="2" destOrd="0" presId="urn:microsoft.com/office/officeart/2005/8/layout/orgChart1"/>
    <dgm:cxn modelId="{86EBBA25-7DFC-4EDF-85B1-35ACFEA19F5E}" type="presParOf" srcId="{BC97566B-A0E9-4C1E-8AE0-245E69982967}" destId="{3B1B660C-8FAD-4877-8258-515443411B56}" srcOrd="2" destOrd="0" presId="urn:microsoft.com/office/officeart/2005/8/layout/orgChart1"/>
    <dgm:cxn modelId="{E19B8FDA-6339-4E86-B14B-23B6826510F0}" type="presParOf" srcId="{BC97566B-A0E9-4C1E-8AE0-245E69982967}" destId="{E514CF7C-80D9-451C-A9DA-6812B1DB6892}" srcOrd="3" destOrd="0" presId="urn:microsoft.com/office/officeart/2005/8/layout/orgChart1"/>
    <dgm:cxn modelId="{23345761-43D5-488F-AACF-66AF2DC27F36}" type="presParOf" srcId="{E514CF7C-80D9-451C-A9DA-6812B1DB6892}" destId="{BFCD79BF-2E11-4770-9B4E-81B69EB7E458}" srcOrd="0" destOrd="0" presId="urn:microsoft.com/office/officeart/2005/8/layout/orgChart1"/>
    <dgm:cxn modelId="{A9F34311-CB57-439C-AF53-41D12B451908}" type="presParOf" srcId="{BFCD79BF-2E11-4770-9B4E-81B69EB7E458}" destId="{D727FE7F-FB70-48A2-8A78-9FE81BC69315}" srcOrd="0" destOrd="0" presId="urn:microsoft.com/office/officeart/2005/8/layout/orgChart1"/>
    <dgm:cxn modelId="{54854B92-003D-4C36-B1E9-A2689713CE04}" type="presParOf" srcId="{BFCD79BF-2E11-4770-9B4E-81B69EB7E458}" destId="{92F29D12-6579-41F2-BB54-05CFD04044E9}" srcOrd="1" destOrd="0" presId="urn:microsoft.com/office/officeart/2005/8/layout/orgChart1"/>
    <dgm:cxn modelId="{0DFEF720-69DF-410A-874A-56876C5C8766}" type="presParOf" srcId="{E514CF7C-80D9-451C-A9DA-6812B1DB6892}" destId="{305DFA2C-831D-4ABD-9A63-64A5A564E4F8}" srcOrd="1" destOrd="0" presId="urn:microsoft.com/office/officeart/2005/8/layout/orgChart1"/>
    <dgm:cxn modelId="{EAB481F9-786D-487A-AFDE-48B8E1E34224}" type="presParOf" srcId="{305DFA2C-831D-4ABD-9A63-64A5A564E4F8}" destId="{4F7C7554-B813-4E48-8C4F-DCAF09BD5906}" srcOrd="0" destOrd="0" presId="urn:microsoft.com/office/officeart/2005/8/layout/orgChart1"/>
    <dgm:cxn modelId="{47FE84F6-DE58-48B3-B77A-613739569481}" type="presParOf" srcId="{305DFA2C-831D-4ABD-9A63-64A5A564E4F8}" destId="{DB11C16E-6F59-433E-8951-4870D301B272}" srcOrd="1" destOrd="0" presId="urn:microsoft.com/office/officeart/2005/8/layout/orgChart1"/>
    <dgm:cxn modelId="{A8537FBB-71F1-47A2-8788-B866B95CCFA7}" type="presParOf" srcId="{DB11C16E-6F59-433E-8951-4870D301B272}" destId="{C68E7D33-48F4-4014-985A-4F5C0E841DDA}" srcOrd="0" destOrd="0" presId="urn:microsoft.com/office/officeart/2005/8/layout/orgChart1"/>
    <dgm:cxn modelId="{CA409963-2A03-4CC8-8809-FFE85A3963E6}" type="presParOf" srcId="{C68E7D33-48F4-4014-985A-4F5C0E841DDA}" destId="{123E7230-AD02-4EDA-888B-58EF4A71B5B7}" srcOrd="0" destOrd="0" presId="urn:microsoft.com/office/officeart/2005/8/layout/orgChart1"/>
    <dgm:cxn modelId="{000C46A1-285F-46B5-99E0-098EE974503B}" type="presParOf" srcId="{C68E7D33-48F4-4014-985A-4F5C0E841DDA}" destId="{5C8FD367-54ED-4BDB-A004-5529B2299654}" srcOrd="1" destOrd="0" presId="urn:microsoft.com/office/officeart/2005/8/layout/orgChart1"/>
    <dgm:cxn modelId="{1A664EA0-934E-4E6A-925E-82D665FD1779}" type="presParOf" srcId="{DB11C16E-6F59-433E-8951-4870D301B272}" destId="{E6895652-1097-4E65-997B-32C97839CD7C}" srcOrd="1" destOrd="0" presId="urn:microsoft.com/office/officeart/2005/8/layout/orgChart1"/>
    <dgm:cxn modelId="{F6300436-49CC-491F-8947-E800E38954A7}" type="presParOf" srcId="{DB11C16E-6F59-433E-8951-4870D301B272}" destId="{73DF2405-745A-43A3-AB2C-92493DFFD2A4}" srcOrd="2" destOrd="0" presId="urn:microsoft.com/office/officeart/2005/8/layout/orgChart1"/>
    <dgm:cxn modelId="{0C6CD666-4386-4FC8-89B6-B167812E1276}" type="presParOf" srcId="{305DFA2C-831D-4ABD-9A63-64A5A564E4F8}" destId="{3F924101-8DE2-4446-B95F-BA04683C8043}" srcOrd="2" destOrd="0" presId="urn:microsoft.com/office/officeart/2005/8/layout/orgChart1"/>
    <dgm:cxn modelId="{F712186F-27D5-4328-BAE0-5949D03BBBCC}" type="presParOf" srcId="{305DFA2C-831D-4ABD-9A63-64A5A564E4F8}" destId="{DB2FD47A-CA51-4975-87B9-DAFE805C5E5C}" srcOrd="3" destOrd="0" presId="urn:microsoft.com/office/officeart/2005/8/layout/orgChart1"/>
    <dgm:cxn modelId="{9A32A33E-E1E4-4041-9664-1498B8E7950D}" type="presParOf" srcId="{DB2FD47A-CA51-4975-87B9-DAFE805C5E5C}" destId="{B3BE1E3F-C43C-4982-8321-EE0B0282FC9F}" srcOrd="0" destOrd="0" presId="urn:microsoft.com/office/officeart/2005/8/layout/orgChart1"/>
    <dgm:cxn modelId="{F5D34D4D-6580-4C4B-996C-C69F96183125}" type="presParOf" srcId="{B3BE1E3F-C43C-4982-8321-EE0B0282FC9F}" destId="{095225D2-3CC3-4FFA-BC22-3824897F4E79}" srcOrd="0" destOrd="0" presId="urn:microsoft.com/office/officeart/2005/8/layout/orgChart1"/>
    <dgm:cxn modelId="{F9419299-F21D-4FF0-819C-DA1FD6026094}" type="presParOf" srcId="{B3BE1E3F-C43C-4982-8321-EE0B0282FC9F}" destId="{EB924C21-9151-48E9-BEA5-6E2DCB862058}" srcOrd="1" destOrd="0" presId="urn:microsoft.com/office/officeart/2005/8/layout/orgChart1"/>
    <dgm:cxn modelId="{B676BE9E-A137-4ABA-B79A-8D7C58D345E5}" type="presParOf" srcId="{DB2FD47A-CA51-4975-87B9-DAFE805C5E5C}" destId="{660B50A3-60F2-4C00-87F8-0F112ED61A89}" srcOrd="1" destOrd="0" presId="urn:microsoft.com/office/officeart/2005/8/layout/orgChart1"/>
    <dgm:cxn modelId="{F9C8127D-6896-47C8-9038-AD61428EEBE2}" type="presParOf" srcId="{DB2FD47A-CA51-4975-87B9-DAFE805C5E5C}" destId="{320F678A-3175-4433-AEF3-E6D3E5412172}" srcOrd="2" destOrd="0" presId="urn:microsoft.com/office/officeart/2005/8/layout/orgChart1"/>
    <dgm:cxn modelId="{8DFF852A-5B06-47B8-BA4B-3936845C5781}" type="presParOf" srcId="{305DFA2C-831D-4ABD-9A63-64A5A564E4F8}" destId="{B2D826E1-8862-4EE3-8B67-D5E73BDE07BC}" srcOrd="4" destOrd="0" presId="urn:microsoft.com/office/officeart/2005/8/layout/orgChart1"/>
    <dgm:cxn modelId="{B6A9CCC9-FFFE-45C4-AAC8-891633E1C6FF}" type="presParOf" srcId="{305DFA2C-831D-4ABD-9A63-64A5A564E4F8}" destId="{A2CED6B2-5C26-4D0D-B159-4E3F1833AECE}" srcOrd="5" destOrd="0" presId="urn:microsoft.com/office/officeart/2005/8/layout/orgChart1"/>
    <dgm:cxn modelId="{4F1418E1-3F23-4BDB-8F72-D598A2742AAD}" type="presParOf" srcId="{A2CED6B2-5C26-4D0D-B159-4E3F1833AECE}" destId="{D45FD032-E545-487E-AD80-62B319256BF8}" srcOrd="0" destOrd="0" presId="urn:microsoft.com/office/officeart/2005/8/layout/orgChart1"/>
    <dgm:cxn modelId="{AC6786C2-31F5-4766-B37D-96CDB9158838}" type="presParOf" srcId="{D45FD032-E545-487E-AD80-62B319256BF8}" destId="{2B502816-F480-43B9-901C-618C2C610A16}" srcOrd="0" destOrd="0" presId="urn:microsoft.com/office/officeart/2005/8/layout/orgChart1"/>
    <dgm:cxn modelId="{9D335E06-DB6B-432B-B2EF-A4E70EE681F1}" type="presParOf" srcId="{D45FD032-E545-487E-AD80-62B319256BF8}" destId="{206A8F02-ABCA-4502-8998-E0EAF11DEFFB}" srcOrd="1" destOrd="0" presId="urn:microsoft.com/office/officeart/2005/8/layout/orgChart1"/>
    <dgm:cxn modelId="{CD2BE518-B584-4F2C-A75D-B1D1F18515F2}" type="presParOf" srcId="{A2CED6B2-5C26-4D0D-B159-4E3F1833AECE}" destId="{3A364882-BB8A-472A-89AC-8448910C84A3}" srcOrd="1" destOrd="0" presId="urn:microsoft.com/office/officeart/2005/8/layout/orgChart1"/>
    <dgm:cxn modelId="{2AD95857-12A5-4078-9F4D-93A8CEE0F29C}" type="presParOf" srcId="{A2CED6B2-5C26-4D0D-B159-4E3F1833AECE}" destId="{F109E234-5C8A-4F97-8C27-B2647743B055}" srcOrd="2" destOrd="0" presId="urn:microsoft.com/office/officeart/2005/8/layout/orgChart1"/>
    <dgm:cxn modelId="{BDCED67C-34F6-4264-A83A-3A6291596100}" type="presParOf" srcId="{305DFA2C-831D-4ABD-9A63-64A5A564E4F8}" destId="{942EE879-4350-4B4B-B8EF-CAD5DC80523B}" srcOrd="6" destOrd="0" presId="urn:microsoft.com/office/officeart/2005/8/layout/orgChart1"/>
    <dgm:cxn modelId="{4680FC9F-1B6C-4D92-B569-F530AABEF8C2}" type="presParOf" srcId="{305DFA2C-831D-4ABD-9A63-64A5A564E4F8}" destId="{9480E170-2063-4D78-BF65-A00039B944CB}" srcOrd="7" destOrd="0" presId="urn:microsoft.com/office/officeart/2005/8/layout/orgChart1"/>
    <dgm:cxn modelId="{750FF93B-B7BE-4AF3-91FC-494D4607ADD5}" type="presParOf" srcId="{9480E170-2063-4D78-BF65-A00039B944CB}" destId="{1C07E28D-86A4-4D44-B94E-0E541F3521E5}" srcOrd="0" destOrd="0" presId="urn:microsoft.com/office/officeart/2005/8/layout/orgChart1"/>
    <dgm:cxn modelId="{F73EA6AA-FF3D-48C4-9A73-80A65C856B55}" type="presParOf" srcId="{1C07E28D-86A4-4D44-B94E-0E541F3521E5}" destId="{12E47CD0-3F92-4472-B15F-404D3F07588F}" srcOrd="0" destOrd="0" presId="urn:microsoft.com/office/officeart/2005/8/layout/orgChart1"/>
    <dgm:cxn modelId="{B84B73A3-C7BC-4971-8CAE-E612A571F6D8}" type="presParOf" srcId="{1C07E28D-86A4-4D44-B94E-0E541F3521E5}" destId="{7E511D20-3D2B-41F3-9E05-467105751146}" srcOrd="1" destOrd="0" presId="urn:microsoft.com/office/officeart/2005/8/layout/orgChart1"/>
    <dgm:cxn modelId="{40757B24-7046-431D-B2DA-A7357CBCF96C}" type="presParOf" srcId="{9480E170-2063-4D78-BF65-A00039B944CB}" destId="{FBF02389-C267-4B34-8DDF-1B9F1DCB69F5}" srcOrd="1" destOrd="0" presId="urn:microsoft.com/office/officeart/2005/8/layout/orgChart1"/>
    <dgm:cxn modelId="{7F7FEF92-53EF-4F0F-9EFF-5CCDDA9572FE}" type="presParOf" srcId="{9480E170-2063-4D78-BF65-A00039B944CB}" destId="{81B1A84C-3147-463B-91AE-049651E9B29E}" srcOrd="2" destOrd="0" presId="urn:microsoft.com/office/officeart/2005/8/layout/orgChart1"/>
    <dgm:cxn modelId="{2D2F70A5-C207-4F5C-99EA-B61F3D59695D}" type="presParOf" srcId="{E514CF7C-80D9-451C-A9DA-6812B1DB6892}" destId="{32408830-C73D-4478-9566-3BA73DA22CDD}" srcOrd="2" destOrd="0" presId="urn:microsoft.com/office/officeart/2005/8/layout/orgChart1"/>
    <dgm:cxn modelId="{ED7BE7FB-6666-4670-A5A4-F227AB0FBAFD}" type="presParOf" srcId="{BC97566B-A0E9-4C1E-8AE0-245E69982967}" destId="{79FE4E2C-4668-4B1C-845F-9E50893E5E03}" srcOrd="4" destOrd="0" presId="urn:microsoft.com/office/officeart/2005/8/layout/orgChart1"/>
    <dgm:cxn modelId="{AF53B2D5-E358-42EA-B24E-F7F44A0E3792}" type="presParOf" srcId="{BC97566B-A0E9-4C1E-8AE0-245E69982967}" destId="{531EBB3E-6BCC-4457-B819-BCE8BE4CAF5C}" srcOrd="5" destOrd="0" presId="urn:microsoft.com/office/officeart/2005/8/layout/orgChart1"/>
    <dgm:cxn modelId="{69B2A4CC-6F20-4BF1-9F19-0154C759CC84}" type="presParOf" srcId="{531EBB3E-6BCC-4457-B819-BCE8BE4CAF5C}" destId="{1AE1ACC5-F57C-44AF-9737-9C5D0EEEDD62}" srcOrd="0" destOrd="0" presId="urn:microsoft.com/office/officeart/2005/8/layout/orgChart1"/>
    <dgm:cxn modelId="{26958DB2-DAF8-419A-B548-15190D4DD87E}" type="presParOf" srcId="{1AE1ACC5-F57C-44AF-9737-9C5D0EEEDD62}" destId="{9EC910E2-9920-474E-BCA6-BA1D2A431337}" srcOrd="0" destOrd="0" presId="urn:microsoft.com/office/officeart/2005/8/layout/orgChart1"/>
    <dgm:cxn modelId="{73BCF943-54EA-46D4-B012-D6BF0C69CA9A}" type="presParOf" srcId="{1AE1ACC5-F57C-44AF-9737-9C5D0EEEDD62}" destId="{2D173BD4-9B72-4FA1-999E-CCCA4B3B2D07}" srcOrd="1" destOrd="0" presId="urn:microsoft.com/office/officeart/2005/8/layout/orgChart1"/>
    <dgm:cxn modelId="{ED654A12-1725-43C3-8FE4-B469B67EB370}" type="presParOf" srcId="{531EBB3E-6BCC-4457-B819-BCE8BE4CAF5C}" destId="{BC3450CA-070F-4A11-ABBF-DD97E50BF140}" srcOrd="1" destOrd="0" presId="urn:microsoft.com/office/officeart/2005/8/layout/orgChart1"/>
    <dgm:cxn modelId="{A528D52B-2AA7-4B3A-AFCA-E03FA1EFBF0B}" type="presParOf" srcId="{BC3450CA-070F-4A11-ABBF-DD97E50BF140}" destId="{0281A62B-42CD-4209-AECC-395BF6E79550}" srcOrd="0" destOrd="0" presId="urn:microsoft.com/office/officeart/2005/8/layout/orgChart1"/>
    <dgm:cxn modelId="{6963E0D4-1FCB-49A9-86D0-91D6BEA17028}" type="presParOf" srcId="{BC3450CA-070F-4A11-ABBF-DD97E50BF140}" destId="{6082D005-0808-49A8-A2B7-B35100C64CDB}" srcOrd="1" destOrd="0" presId="urn:microsoft.com/office/officeart/2005/8/layout/orgChart1"/>
    <dgm:cxn modelId="{0D45C101-09CC-427B-90B5-7DC876E961F3}" type="presParOf" srcId="{6082D005-0808-49A8-A2B7-B35100C64CDB}" destId="{0507753F-BC68-4E53-ABEC-3EEFE83D3B02}" srcOrd="0" destOrd="0" presId="urn:microsoft.com/office/officeart/2005/8/layout/orgChart1"/>
    <dgm:cxn modelId="{575AB701-CAF4-468D-8CEF-9F4A2834F1E3}" type="presParOf" srcId="{0507753F-BC68-4E53-ABEC-3EEFE83D3B02}" destId="{CD724948-FDAB-40FB-93F0-BB133376568F}" srcOrd="0" destOrd="0" presId="urn:microsoft.com/office/officeart/2005/8/layout/orgChart1"/>
    <dgm:cxn modelId="{8367C6D4-0229-435F-8DB3-761242D51302}" type="presParOf" srcId="{0507753F-BC68-4E53-ABEC-3EEFE83D3B02}" destId="{ECBF83FD-C9F2-4DAF-8543-0A4F033E09A3}" srcOrd="1" destOrd="0" presId="urn:microsoft.com/office/officeart/2005/8/layout/orgChart1"/>
    <dgm:cxn modelId="{7A976CA8-C5B6-4A19-990F-5065090AF629}" type="presParOf" srcId="{6082D005-0808-49A8-A2B7-B35100C64CDB}" destId="{867FFC3D-C707-473D-B466-421467E8524B}" srcOrd="1" destOrd="0" presId="urn:microsoft.com/office/officeart/2005/8/layout/orgChart1"/>
    <dgm:cxn modelId="{89FF8E26-E6C5-498E-B9E1-9A7F34540869}" type="presParOf" srcId="{6082D005-0808-49A8-A2B7-B35100C64CDB}" destId="{CECC473F-5328-47FC-A352-91BAD8A8C957}" srcOrd="2" destOrd="0" presId="urn:microsoft.com/office/officeart/2005/8/layout/orgChart1"/>
    <dgm:cxn modelId="{BCBCFA45-69F7-4DB8-BBA5-96B00B9A34C6}" type="presParOf" srcId="{BC3450CA-070F-4A11-ABBF-DD97E50BF140}" destId="{9503890C-BA18-49E9-9FDC-9D8A361EE5FA}" srcOrd="2" destOrd="0" presId="urn:microsoft.com/office/officeart/2005/8/layout/orgChart1"/>
    <dgm:cxn modelId="{D7190278-77EE-43A8-9884-475E991249BC}" type="presParOf" srcId="{BC3450CA-070F-4A11-ABBF-DD97E50BF140}" destId="{C7D2B4CF-75A4-4487-8231-6CBBE7DFCAF5}" srcOrd="3" destOrd="0" presId="urn:microsoft.com/office/officeart/2005/8/layout/orgChart1"/>
    <dgm:cxn modelId="{DD5693BD-9C0E-4BDF-A1DD-C4428B7DE07C}" type="presParOf" srcId="{C7D2B4CF-75A4-4487-8231-6CBBE7DFCAF5}" destId="{646034DF-669E-4729-B75A-3D8B60B27FB8}" srcOrd="0" destOrd="0" presId="urn:microsoft.com/office/officeart/2005/8/layout/orgChart1"/>
    <dgm:cxn modelId="{43637597-78A2-4262-800A-B22DC53A7D72}" type="presParOf" srcId="{646034DF-669E-4729-B75A-3D8B60B27FB8}" destId="{41F91D73-D1F0-48EE-BB08-E7E0E9FFA7CE}" srcOrd="0" destOrd="0" presId="urn:microsoft.com/office/officeart/2005/8/layout/orgChart1"/>
    <dgm:cxn modelId="{A41D073F-BAC0-4D4F-86A4-71276CAB4D22}" type="presParOf" srcId="{646034DF-669E-4729-B75A-3D8B60B27FB8}" destId="{18638DFA-6250-48B5-A7DA-CECEE52E4AD0}" srcOrd="1" destOrd="0" presId="urn:microsoft.com/office/officeart/2005/8/layout/orgChart1"/>
    <dgm:cxn modelId="{4CDEE86B-FF97-43BC-B3A7-49773E9404B4}" type="presParOf" srcId="{C7D2B4CF-75A4-4487-8231-6CBBE7DFCAF5}" destId="{F6E27420-2428-4256-9E1B-BA98FE8EAA70}" srcOrd="1" destOrd="0" presId="urn:microsoft.com/office/officeart/2005/8/layout/orgChart1"/>
    <dgm:cxn modelId="{FFDF5195-EB9B-4DD5-B3B5-321598F9B41E}" type="presParOf" srcId="{C7D2B4CF-75A4-4487-8231-6CBBE7DFCAF5}" destId="{47B6CBE2-6D3D-4D72-BD5E-9F4EBBFE8A5E}" srcOrd="2" destOrd="0" presId="urn:microsoft.com/office/officeart/2005/8/layout/orgChart1"/>
    <dgm:cxn modelId="{0E36EE53-FCFF-4DEB-9022-F2E9D9BB5A18}" type="presParOf" srcId="{BC3450CA-070F-4A11-ABBF-DD97E50BF140}" destId="{A785743A-9234-4003-B80C-B019B3A12995}" srcOrd="4" destOrd="0" presId="urn:microsoft.com/office/officeart/2005/8/layout/orgChart1"/>
    <dgm:cxn modelId="{6CFEB182-1765-47F9-B086-40DCBF22CA5E}" type="presParOf" srcId="{BC3450CA-070F-4A11-ABBF-DD97E50BF140}" destId="{7733DF28-6BCE-44DF-B01D-BB58C6AF90F5}" srcOrd="5" destOrd="0" presId="urn:microsoft.com/office/officeart/2005/8/layout/orgChart1"/>
    <dgm:cxn modelId="{2F420118-C64E-4C75-9872-C34C1CE8813D}" type="presParOf" srcId="{7733DF28-6BCE-44DF-B01D-BB58C6AF90F5}" destId="{7829B052-A779-47B0-A92F-A4C4C73DE7C7}" srcOrd="0" destOrd="0" presId="urn:microsoft.com/office/officeart/2005/8/layout/orgChart1"/>
    <dgm:cxn modelId="{790A770E-616D-4F8D-A518-261485BA4114}" type="presParOf" srcId="{7829B052-A779-47B0-A92F-A4C4C73DE7C7}" destId="{08F70F84-F489-4C39-A449-6D0FA054DDFF}" srcOrd="0" destOrd="0" presId="urn:microsoft.com/office/officeart/2005/8/layout/orgChart1"/>
    <dgm:cxn modelId="{B664DD77-9AA3-4C94-ACDE-3E689AEDA79C}" type="presParOf" srcId="{7829B052-A779-47B0-A92F-A4C4C73DE7C7}" destId="{5F05B28F-F8D5-4FB1-AC82-3D6C3D085A3B}" srcOrd="1" destOrd="0" presId="urn:microsoft.com/office/officeart/2005/8/layout/orgChart1"/>
    <dgm:cxn modelId="{B75FB54B-6757-45D1-B2CC-09462546A877}" type="presParOf" srcId="{7733DF28-6BCE-44DF-B01D-BB58C6AF90F5}" destId="{A6821E0E-D4C3-4368-BB7A-B244B80CCAAA}" srcOrd="1" destOrd="0" presId="urn:microsoft.com/office/officeart/2005/8/layout/orgChart1"/>
    <dgm:cxn modelId="{245AB924-5BA5-432C-B766-79338B6EDA95}" type="presParOf" srcId="{7733DF28-6BCE-44DF-B01D-BB58C6AF90F5}" destId="{B0DCEF38-8851-4C49-9567-1284C49B735A}" srcOrd="2" destOrd="0" presId="urn:microsoft.com/office/officeart/2005/8/layout/orgChart1"/>
    <dgm:cxn modelId="{67CE4F27-9B51-44D1-9675-EF4EAA310CE4}" type="presParOf" srcId="{BC3450CA-070F-4A11-ABBF-DD97E50BF140}" destId="{567F9F79-E396-40C6-850D-5E6C0994FD05}" srcOrd="6" destOrd="0" presId="urn:microsoft.com/office/officeart/2005/8/layout/orgChart1"/>
    <dgm:cxn modelId="{946CADE6-CC2B-486E-AC61-C5520DBA72F1}" type="presParOf" srcId="{BC3450CA-070F-4A11-ABBF-DD97E50BF140}" destId="{F87118D8-15FC-4ED9-8BB0-6DF963FEB535}" srcOrd="7" destOrd="0" presId="urn:microsoft.com/office/officeart/2005/8/layout/orgChart1"/>
    <dgm:cxn modelId="{FB897519-4247-4D2B-ADD8-9E905C028088}" type="presParOf" srcId="{F87118D8-15FC-4ED9-8BB0-6DF963FEB535}" destId="{124622FA-DC75-4B36-8548-A661F0026086}" srcOrd="0" destOrd="0" presId="urn:microsoft.com/office/officeart/2005/8/layout/orgChart1"/>
    <dgm:cxn modelId="{B4FCDAB1-9D6C-46B7-89AE-82873A6AF242}" type="presParOf" srcId="{124622FA-DC75-4B36-8548-A661F0026086}" destId="{0F5E7265-C48C-4D5F-9FF4-A365B8207532}" srcOrd="0" destOrd="0" presId="urn:microsoft.com/office/officeart/2005/8/layout/orgChart1"/>
    <dgm:cxn modelId="{8DA331C0-D8D6-43FC-9CB7-CA2049DE3BC3}" type="presParOf" srcId="{124622FA-DC75-4B36-8548-A661F0026086}" destId="{989057DE-7DD1-4E63-91F2-47D057581694}" srcOrd="1" destOrd="0" presId="urn:microsoft.com/office/officeart/2005/8/layout/orgChart1"/>
    <dgm:cxn modelId="{FD53399A-C07B-4F61-83D4-DF155EAEE3BC}" type="presParOf" srcId="{F87118D8-15FC-4ED9-8BB0-6DF963FEB535}" destId="{FB77A0F2-29AB-40D8-8810-0107E3FA9F01}" srcOrd="1" destOrd="0" presId="urn:microsoft.com/office/officeart/2005/8/layout/orgChart1"/>
    <dgm:cxn modelId="{5DBBA7D9-A903-46B3-AD00-3F1E098EF7BD}" type="presParOf" srcId="{F87118D8-15FC-4ED9-8BB0-6DF963FEB535}" destId="{15C03709-4D21-47EB-970D-130AB41AF41D}" srcOrd="2" destOrd="0" presId="urn:microsoft.com/office/officeart/2005/8/layout/orgChart1"/>
    <dgm:cxn modelId="{6013D425-9B47-48F2-901A-8B7AB19FCE87}" type="presParOf" srcId="{531EBB3E-6BCC-4457-B819-BCE8BE4CAF5C}" destId="{35EB3369-B47F-460D-B04F-98C4BAD53C60}" srcOrd="2" destOrd="0" presId="urn:microsoft.com/office/officeart/2005/8/layout/orgChart1"/>
    <dgm:cxn modelId="{85E9FDBF-D514-496B-B54D-84FAE057CCDD}" type="presParOf" srcId="{B78F02E0-4D5B-44B4-B93C-9BE23416369A}" destId="{4BFD6640-5597-4D94-8F34-5C3AB2227813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xmlns="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D632669-D503-4E24-B604-4CBD948CBCE0}" type="doc">
      <dgm:prSet loTypeId="urn:microsoft.com/office/officeart/2005/8/layout/process5" loCatId="process" qsTypeId="urn:microsoft.com/office/officeart/2005/8/quickstyle/3d3" qsCatId="3D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AC858659-EE59-4266-B637-3A484D24E458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Installation of Telematics device</a:t>
          </a:r>
        </a:p>
      </dgm:t>
    </dgm:pt>
    <dgm:pt modelId="{60165C77-D441-4C58-9D55-0BF40107C5AD}" type="parTrans" cxnId="{0E572700-F2F7-439B-82CD-C152DF4F397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891ED15-1B8C-4C00-8364-FA1714547982}" type="sibTrans" cxnId="{0E572700-F2F7-439B-82CD-C152DF4F397B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899D255C-3BBF-4E60-92AE-C9E095147C57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Retrieving driver’s behavior and vehicle Information</a:t>
          </a:r>
        </a:p>
      </dgm:t>
    </dgm:pt>
    <dgm:pt modelId="{5A99B960-1E80-426D-A044-7E4F03398980}" type="parTrans" cxnId="{89F0AAA7-1A05-4644-B73C-86457FFEB98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5D65A25-05AA-4176-8C76-10E31E797DB4}" type="sibTrans" cxnId="{89F0AAA7-1A05-4644-B73C-86457FFEB98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2793B1D-4857-45FB-98EC-76B399AFF71C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rocessing and analyzing data while maintaining confidentiality</a:t>
          </a:r>
        </a:p>
      </dgm:t>
    </dgm:pt>
    <dgm:pt modelId="{2DDABA0D-53CE-4629-994B-C9C42B385AE6}" type="parTrans" cxnId="{FAC2BABB-7291-4088-9E42-B7E44FF7EEC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BB3084A-7D23-4358-8A21-1744399E5A2F}" type="sibTrans" cxnId="{FAC2BABB-7291-4088-9E42-B7E44FF7EEC5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BE3CEFEE-96A9-442B-B1F1-0AA2A00BBD05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Periodic report to the client</a:t>
          </a:r>
        </a:p>
      </dgm:t>
    </dgm:pt>
    <dgm:pt modelId="{41A997DF-BED9-4C43-B2D2-F9A60718242A}" type="parTrans" cxnId="{042A0839-5250-400F-8040-D1CEE7F5461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4897AED-D82D-461C-900F-467B01EEE102}" type="sibTrans" cxnId="{042A0839-5250-400F-8040-D1CEE7F5461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22DFB10-3C04-428B-B0AF-B8AC61BD8A04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Actions to improve overall fleet profitability and safety by the client</a:t>
          </a:r>
        </a:p>
      </dgm:t>
    </dgm:pt>
    <dgm:pt modelId="{8EE91EDB-F870-4DAE-A706-D090A34F25F6}" type="parTrans" cxnId="{F74A6E5B-C0B2-4B11-BD19-7657226784B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ABE64A3E-2111-4748-9A23-5A82773033F3}" type="sibTrans" cxnId="{F74A6E5B-C0B2-4B11-BD19-7657226784B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7D87E638-8D00-496C-A87A-985E5491AF5B}" type="pres">
      <dgm:prSet presAssocID="{6D632669-D503-4E24-B604-4CBD948CBCE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EF687DB-1C3A-4C29-9B24-D59342B0B911}" type="pres">
      <dgm:prSet presAssocID="{AC858659-EE59-4266-B637-3A484D24E458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EA9DC1-9DAA-4E17-A9F2-EEB016701A7B}" type="pres">
      <dgm:prSet presAssocID="{6891ED15-1B8C-4C00-8364-FA1714547982}" presName="sibTrans" presStyleLbl="sibTrans2D1" presStyleIdx="0" presStyleCnt="4"/>
      <dgm:spPr/>
      <dgm:t>
        <a:bodyPr/>
        <a:lstStyle/>
        <a:p>
          <a:endParaRPr lang="en-US"/>
        </a:p>
      </dgm:t>
    </dgm:pt>
    <dgm:pt modelId="{95DEDF64-809A-4A8A-9E42-5015A8B1DFD5}" type="pres">
      <dgm:prSet presAssocID="{6891ED15-1B8C-4C00-8364-FA1714547982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866324B2-9086-4C9A-AE83-D8F16AB38A25}" type="pres">
      <dgm:prSet presAssocID="{899D255C-3BBF-4E60-92AE-C9E095147C57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7DBF6C-5109-4C8F-ACAE-7609ACF80A01}" type="pres">
      <dgm:prSet presAssocID="{25D65A25-05AA-4176-8C76-10E31E797DB4}" presName="sibTrans" presStyleLbl="sibTrans2D1" presStyleIdx="1" presStyleCnt="4"/>
      <dgm:spPr/>
      <dgm:t>
        <a:bodyPr/>
        <a:lstStyle/>
        <a:p>
          <a:endParaRPr lang="en-US"/>
        </a:p>
      </dgm:t>
    </dgm:pt>
    <dgm:pt modelId="{2938CC49-4300-44E4-AF7B-52C986EF195F}" type="pres">
      <dgm:prSet presAssocID="{25D65A25-05AA-4176-8C76-10E31E797DB4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87E61C4B-63F7-4782-BA68-999B7DB0FFD2}" type="pres">
      <dgm:prSet presAssocID="{B2793B1D-4857-45FB-98EC-76B399AFF71C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42BF3F-E350-4055-837C-288325B1ECC7}" type="pres">
      <dgm:prSet presAssocID="{6BB3084A-7D23-4358-8A21-1744399E5A2F}" presName="sibTrans" presStyleLbl="sibTrans2D1" presStyleIdx="2" presStyleCnt="4" custAng="20722569"/>
      <dgm:spPr/>
      <dgm:t>
        <a:bodyPr/>
        <a:lstStyle/>
        <a:p>
          <a:endParaRPr lang="en-US"/>
        </a:p>
      </dgm:t>
    </dgm:pt>
    <dgm:pt modelId="{1C334895-4D48-4C39-B21A-7C29605E01BE}" type="pres">
      <dgm:prSet presAssocID="{6BB3084A-7D23-4358-8A21-1744399E5A2F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120BFBC4-DB9A-40B5-81A8-024EEC8D22B6}" type="pres">
      <dgm:prSet presAssocID="{BE3CEFEE-96A9-442B-B1F1-0AA2A00BBD05}" presName="node" presStyleLbl="node1" presStyleIdx="3" presStyleCnt="5" custScaleX="15218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53E87C4-E8BF-4FF9-8CAF-AA115CAE75AC}" type="pres">
      <dgm:prSet presAssocID="{24897AED-D82D-461C-900F-467B01EEE102}" presName="sibTrans" presStyleLbl="sibTrans2D1" presStyleIdx="3" presStyleCnt="4"/>
      <dgm:spPr/>
      <dgm:t>
        <a:bodyPr/>
        <a:lstStyle/>
        <a:p>
          <a:endParaRPr lang="en-US"/>
        </a:p>
      </dgm:t>
    </dgm:pt>
    <dgm:pt modelId="{11B5B9DF-7291-43DE-977D-B6BB3AB04231}" type="pres">
      <dgm:prSet presAssocID="{24897AED-D82D-461C-900F-467B01EEE102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B5CB49CF-C6FA-4070-9FFC-7E2107941319}" type="pres">
      <dgm:prSet presAssocID="{422DFB10-3C04-428B-B0AF-B8AC61BD8A04}" presName="node" presStyleLbl="node1" presStyleIdx="4" presStyleCnt="5" custScaleX="18611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7A60E22-9BB9-6C43-ABDB-FC23243B622D}" type="presOf" srcId="{BE3CEFEE-96A9-442B-B1F1-0AA2A00BBD05}" destId="{120BFBC4-DB9A-40B5-81A8-024EEC8D22B6}" srcOrd="0" destOrd="0" presId="urn:microsoft.com/office/officeart/2005/8/layout/process5"/>
    <dgm:cxn modelId="{13338BB5-467D-B149-B972-C36EEAA3E519}" type="presOf" srcId="{6891ED15-1B8C-4C00-8364-FA1714547982}" destId="{93EA9DC1-9DAA-4E17-A9F2-EEB016701A7B}" srcOrd="0" destOrd="0" presId="urn:microsoft.com/office/officeart/2005/8/layout/process5"/>
    <dgm:cxn modelId="{0E572700-F2F7-439B-82CD-C152DF4F397B}" srcId="{6D632669-D503-4E24-B604-4CBD948CBCE0}" destId="{AC858659-EE59-4266-B637-3A484D24E458}" srcOrd="0" destOrd="0" parTransId="{60165C77-D441-4C58-9D55-0BF40107C5AD}" sibTransId="{6891ED15-1B8C-4C00-8364-FA1714547982}"/>
    <dgm:cxn modelId="{0828428C-6CDA-A54C-822C-B0D07FAD7E20}" type="presOf" srcId="{899D255C-3BBF-4E60-92AE-C9E095147C57}" destId="{866324B2-9086-4C9A-AE83-D8F16AB38A25}" srcOrd="0" destOrd="0" presId="urn:microsoft.com/office/officeart/2005/8/layout/process5"/>
    <dgm:cxn modelId="{85F0E43B-8A48-014C-AC44-F529FB62DC19}" type="presOf" srcId="{24897AED-D82D-461C-900F-467B01EEE102}" destId="{11B5B9DF-7291-43DE-977D-B6BB3AB04231}" srcOrd="1" destOrd="0" presId="urn:microsoft.com/office/officeart/2005/8/layout/process5"/>
    <dgm:cxn modelId="{042A0839-5250-400F-8040-D1CEE7F54612}" srcId="{6D632669-D503-4E24-B604-4CBD948CBCE0}" destId="{BE3CEFEE-96A9-442B-B1F1-0AA2A00BBD05}" srcOrd="3" destOrd="0" parTransId="{41A997DF-BED9-4C43-B2D2-F9A60718242A}" sibTransId="{24897AED-D82D-461C-900F-467B01EEE102}"/>
    <dgm:cxn modelId="{9F487343-7593-BA4A-9429-FB494A53CE6D}" type="presOf" srcId="{6891ED15-1B8C-4C00-8364-FA1714547982}" destId="{95DEDF64-809A-4A8A-9E42-5015A8B1DFD5}" srcOrd="1" destOrd="0" presId="urn:microsoft.com/office/officeart/2005/8/layout/process5"/>
    <dgm:cxn modelId="{89F0AAA7-1A05-4644-B73C-86457FFEB985}" srcId="{6D632669-D503-4E24-B604-4CBD948CBCE0}" destId="{899D255C-3BBF-4E60-92AE-C9E095147C57}" srcOrd="1" destOrd="0" parTransId="{5A99B960-1E80-426D-A044-7E4F03398980}" sibTransId="{25D65A25-05AA-4176-8C76-10E31E797DB4}"/>
    <dgm:cxn modelId="{6FEF2A76-D2F9-904B-9B98-FA71077CA9A2}" type="presOf" srcId="{6BB3084A-7D23-4358-8A21-1744399E5A2F}" destId="{2642BF3F-E350-4055-837C-288325B1ECC7}" srcOrd="0" destOrd="0" presId="urn:microsoft.com/office/officeart/2005/8/layout/process5"/>
    <dgm:cxn modelId="{C3C3E47E-6D9B-E845-8D39-8FB29834FDEB}" type="presOf" srcId="{24897AED-D82D-461C-900F-467B01EEE102}" destId="{C53E87C4-E8BF-4FF9-8CAF-AA115CAE75AC}" srcOrd="0" destOrd="0" presId="urn:microsoft.com/office/officeart/2005/8/layout/process5"/>
    <dgm:cxn modelId="{28792E66-6FFF-3747-A1A6-1A3E6AADCB25}" type="presOf" srcId="{6BB3084A-7D23-4358-8A21-1744399E5A2F}" destId="{1C334895-4D48-4C39-B21A-7C29605E01BE}" srcOrd="1" destOrd="0" presId="urn:microsoft.com/office/officeart/2005/8/layout/process5"/>
    <dgm:cxn modelId="{A3ACC253-0BCD-B043-91F0-9C76B8DAF7AE}" type="presOf" srcId="{AC858659-EE59-4266-B637-3A484D24E458}" destId="{4EF687DB-1C3A-4C29-9B24-D59342B0B911}" srcOrd="0" destOrd="0" presId="urn:microsoft.com/office/officeart/2005/8/layout/process5"/>
    <dgm:cxn modelId="{47BEDAB0-1719-E04D-84A6-6A76600291AB}" type="presOf" srcId="{25D65A25-05AA-4176-8C76-10E31E797DB4}" destId="{2938CC49-4300-44E4-AF7B-52C986EF195F}" srcOrd="1" destOrd="0" presId="urn:microsoft.com/office/officeart/2005/8/layout/process5"/>
    <dgm:cxn modelId="{E3C9F674-4062-E94A-B6AD-EC9CC2446020}" type="presOf" srcId="{422DFB10-3C04-428B-B0AF-B8AC61BD8A04}" destId="{B5CB49CF-C6FA-4070-9FFC-7E2107941319}" srcOrd="0" destOrd="0" presId="urn:microsoft.com/office/officeart/2005/8/layout/process5"/>
    <dgm:cxn modelId="{FAC2BABB-7291-4088-9E42-B7E44FF7EEC5}" srcId="{6D632669-D503-4E24-B604-4CBD948CBCE0}" destId="{B2793B1D-4857-45FB-98EC-76B399AFF71C}" srcOrd="2" destOrd="0" parTransId="{2DDABA0D-53CE-4629-994B-C9C42B385AE6}" sibTransId="{6BB3084A-7D23-4358-8A21-1744399E5A2F}"/>
    <dgm:cxn modelId="{3B105219-E9B2-6D45-9342-0640D5A6A9EF}" type="presOf" srcId="{25D65A25-05AA-4176-8C76-10E31E797DB4}" destId="{0F7DBF6C-5109-4C8F-ACAE-7609ACF80A01}" srcOrd="0" destOrd="0" presId="urn:microsoft.com/office/officeart/2005/8/layout/process5"/>
    <dgm:cxn modelId="{26F2B729-497B-754E-8BBE-1B19D839E6E4}" type="presOf" srcId="{6D632669-D503-4E24-B604-4CBD948CBCE0}" destId="{7D87E638-8D00-496C-A87A-985E5491AF5B}" srcOrd="0" destOrd="0" presId="urn:microsoft.com/office/officeart/2005/8/layout/process5"/>
    <dgm:cxn modelId="{F74A6E5B-C0B2-4B11-BD19-7657226784B2}" srcId="{6D632669-D503-4E24-B604-4CBD948CBCE0}" destId="{422DFB10-3C04-428B-B0AF-B8AC61BD8A04}" srcOrd="4" destOrd="0" parTransId="{8EE91EDB-F870-4DAE-A706-D090A34F25F6}" sibTransId="{ABE64A3E-2111-4748-9A23-5A82773033F3}"/>
    <dgm:cxn modelId="{034315AF-C3EF-944D-8C38-7C603ACA4BA5}" type="presOf" srcId="{B2793B1D-4857-45FB-98EC-76B399AFF71C}" destId="{87E61C4B-63F7-4782-BA68-999B7DB0FFD2}" srcOrd="0" destOrd="0" presId="urn:microsoft.com/office/officeart/2005/8/layout/process5"/>
    <dgm:cxn modelId="{A2D0CBA7-A41A-B742-8DA5-A6E816773240}" type="presParOf" srcId="{7D87E638-8D00-496C-A87A-985E5491AF5B}" destId="{4EF687DB-1C3A-4C29-9B24-D59342B0B911}" srcOrd="0" destOrd="0" presId="urn:microsoft.com/office/officeart/2005/8/layout/process5"/>
    <dgm:cxn modelId="{8F5AC80C-F28A-9F4E-8152-BC3E34219037}" type="presParOf" srcId="{7D87E638-8D00-496C-A87A-985E5491AF5B}" destId="{93EA9DC1-9DAA-4E17-A9F2-EEB016701A7B}" srcOrd="1" destOrd="0" presId="urn:microsoft.com/office/officeart/2005/8/layout/process5"/>
    <dgm:cxn modelId="{EB14638D-87BA-7845-9BB5-7974104E4C0F}" type="presParOf" srcId="{93EA9DC1-9DAA-4E17-A9F2-EEB016701A7B}" destId="{95DEDF64-809A-4A8A-9E42-5015A8B1DFD5}" srcOrd="0" destOrd="0" presId="urn:microsoft.com/office/officeart/2005/8/layout/process5"/>
    <dgm:cxn modelId="{22B41D20-6437-E343-9B61-358BB8E4C1ED}" type="presParOf" srcId="{7D87E638-8D00-496C-A87A-985E5491AF5B}" destId="{866324B2-9086-4C9A-AE83-D8F16AB38A25}" srcOrd="2" destOrd="0" presId="urn:microsoft.com/office/officeart/2005/8/layout/process5"/>
    <dgm:cxn modelId="{6D7DBDB7-09A0-3242-967B-6808EC4979C4}" type="presParOf" srcId="{7D87E638-8D00-496C-A87A-985E5491AF5B}" destId="{0F7DBF6C-5109-4C8F-ACAE-7609ACF80A01}" srcOrd="3" destOrd="0" presId="urn:microsoft.com/office/officeart/2005/8/layout/process5"/>
    <dgm:cxn modelId="{B53B91DA-AA0E-6F45-BDB6-22986C4EA7A8}" type="presParOf" srcId="{0F7DBF6C-5109-4C8F-ACAE-7609ACF80A01}" destId="{2938CC49-4300-44E4-AF7B-52C986EF195F}" srcOrd="0" destOrd="0" presId="urn:microsoft.com/office/officeart/2005/8/layout/process5"/>
    <dgm:cxn modelId="{9E8E3D7C-569F-2144-9A68-BDCEEA90F4BD}" type="presParOf" srcId="{7D87E638-8D00-496C-A87A-985E5491AF5B}" destId="{87E61C4B-63F7-4782-BA68-999B7DB0FFD2}" srcOrd="4" destOrd="0" presId="urn:microsoft.com/office/officeart/2005/8/layout/process5"/>
    <dgm:cxn modelId="{08779A83-DD22-2549-B225-8041850EA3C7}" type="presParOf" srcId="{7D87E638-8D00-496C-A87A-985E5491AF5B}" destId="{2642BF3F-E350-4055-837C-288325B1ECC7}" srcOrd="5" destOrd="0" presId="urn:microsoft.com/office/officeart/2005/8/layout/process5"/>
    <dgm:cxn modelId="{B23C4E48-7233-8B45-9B17-6952277AB94A}" type="presParOf" srcId="{2642BF3F-E350-4055-837C-288325B1ECC7}" destId="{1C334895-4D48-4C39-B21A-7C29605E01BE}" srcOrd="0" destOrd="0" presId="urn:microsoft.com/office/officeart/2005/8/layout/process5"/>
    <dgm:cxn modelId="{7353BA5D-BEFB-E741-870D-B3B00EB685BF}" type="presParOf" srcId="{7D87E638-8D00-496C-A87A-985E5491AF5B}" destId="{120BFBC4-DB9A-40B5-81A8-024EEC8D22B6}" srcOrd="6" destOrd="0" presId="urn:microsoft.com/office/officeart/2005/8/layout/process5"/>
    <dgm:cxn modelId="{91108245-F1D5-F04E-81B7-A049CD069B06}" type="presParOf" srcId="{7D87E638-8D00-496C-A87A-985E5491AF5B}" destId="{C53E87C4-E8BF-4FF9-8CAF-AA115CAE75AC}" srcOrd="7" destOrd="0" presId="urn:microsoft.com/office/officeart/2005/8/layout/process5"/>
    <dgm:cxn modelId="{F09DF514-C9B4-9141-989D-22C8EEFF71AA}" type="presParOf" srcId="{C53E87C4-E8BF-4FF9-8CAF-AA115CAE75AC}" destId="{11B5B9DF-7291-43DE-977D-B6BB3AB04231}" srcOrd="0" destOrd="0" presId="urn:microsoft.com/office/officeart/2005/8/layout/process5"/>
    <dgm:cxn modelId="{4F48B754-78A5-DA44-9B81-509AC0D90006}" type="presParOf" srcId="{7D87E638-8D00-496C-A87A-985E5491AF5B}" destId="{B5CB49CF-C6FA-4070-9FFC-7E2107941319}" srcOrd="8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D9E1DD-6D07-4C59-A96E-2F2B14EE16E6}">
      <dsp:nvSpPr>
        <dsp:cNvPr id="0" name=""/>
        <dsp:cNvSpPr/>
      </dsp:nvSpPr>
      <dsp:spPr>
        <a:xfrm>
          <a:off x="5" y="0"/>
          <a:ext cx="11357356" cy="1918061"/>
        </a:xfrm>
        <a:prstGeom prst="rightArrow">
          <a:avLst/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67A9D1-487B-4759-AB92-0390621AB9A4}">
      <dsp:nvSpPr>
        <dsp:cNvPr id="0" name=""/>
        <dsp:cNvSpPr/>
      </dsp:nvSpPr>
      <dsp:spPr>
        <a:xfrm>
          <a:off x="63486" y="596217"/>
          <a:ext cx="1857261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ligibility</a:t>
          </a:r>
          <a:endParaRPr lang="en-US" sz="1800" kern="1200" dirty="0"/>
        </a:p>
      </dsp:txBody>
      <dsp:txXfrm>
        <a:off x="447098" y="596217"/>
        <a:ext cx="1090037" cy="767224"/>
      </dsp:txXfrm>
    </dsp:sp>
    <dsp:sp modelId="{6A324900-5D04-4CAF-9B70-D7E63E8A7DD2}">
      <dsp:nvSpPr>
        <dsp:cNvPr id="0" name=""/>
        <dsp:cNvSpPr/>
      </dsp:nvSpPr>
      <dsp:spPr>
        <a:xfrm>
          <a:off x="1951900" y="596217"/>
          <a:ext cx="1823889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ctuarial Exam Body</a:t>
          </a:r>
          <a:endParaRPr lang="en-US" sz="1800" kern="1200" dirty="0"/>
        </a:p>
      </dsp:txBody>
      <dsp:txXfrm>
        <a:off x="2335512" y="596217"/>
        <a:ext cx="1056665" cy="767224"/>
      </dsp:txXfrm>
    </dsp:sp>
    <dsp:sp modelId="{4AB0FADB-7D17-48A3-80CE-0F3D624758C7}">
      <dsp:nvSpPr>
        <dsp:cNvPr id="0" name=""/>
        <dsp:cNvSpPr/>
      </dsp:nvSpPr>
      <dsp:spPr>
        <a:xfrm>
          <a:off x="3755867" y="621244"/>
          <a:ext cx="1361364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irst Job</a:t>
          </a:r>
          <a:endParaRPr lang="en-US" sz="1800" kern="1200" dirty="0"/>
        </a:p>
      </dsp:txBody>
      <dsp:txXfrm>
        <a:off x="4139479" y="621244"/>
        <a:ext cx="594140" cy="767224"/>
      </dsp:txXfrm>
    </dsp:sp>
    <dsp:sp modelId="{04A158A7-5FC5-4058-982F-41A367E291B0}">
      <dsp:nvSpPr>
        <dsp:cNvPr id="0" name=""/>
        <dsp:cNvSpPr/>
      </dsp:nvSpPr>
      <dsp:spPr>
        <a:xfrm>
          <a:off x="5435615" y="616702"/>
          <a:ext cx="1860447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tudying for Exams</a:t>
          </a:r>
          <a:endParaRPr lang="en-US" sz="1800" kern="1200" dirty="0"/>
        </a:p>
      </dsp:txBody>
      <dsp:txXfrm>
        <a:off x="5819227" y="616702"/>
        <a:ext cx="1093223" cy="767224"/>
      </dsp:txXfrm>
    </dsp:sp>
    <dsp:sp modelId="{EB7F3EF7-5928-4BBE-8E0E-D76314C4FAAF}">
      <dsp:nvSpPr>
        <dsp:cNvPr id="0" name=""/>
        <dsp:cNvSpPr/>
      </dsp:nvSpPr>
      <dsp:spPr>
        <a:xfrm>
          <a:off x="7192769" y="596217"/>
          <a:ext cx="823807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…</a:t>
          </a:r>
          <a:endParaRPr lang="en-US" sz="1800" kern="1200" dirty="0"/>
        </a:p>
      </dsp:txBody>
      <dsp:txXfrm>
        <a:off x="7576381" y="596217"/>
        <a:ext cx="56583" cy="767224"/>
      </dsp:txXfrm>
    </dsp:sp>
    <dsp:sp modelId="{40126522-483F-492B-9DAE-06A15E9C61B0}">
      <dsp:nvSpPr>
        <dsp:cNvPr id="0" name=""/>
        <dsp:cNvSpPr/>
      </dsp:nvSpPr>
      <dsp:spPr>
        <a:xfrm>
          <a:off x="7920169" y="603260"/>
          <a:ext cx="2626087" cy="767224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Successful Completion of all Requirements</a:t>
          </a:r>
          <a:endParaRPr lang="en-US" sz="1800" kern="1200" dirty="0"/>
        </a:p>
      </dsp:txBody>
      <dsp:txXfrm>
        <a:off x="8303781" y="603260"/>
        <a:ext cx="1858863" cy="7672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7F9F79-E396-40C6-850D-5E6C0994FD05}">
      <dsp:nvSpPr>
        <dsp:cNvPr id="0" name=""/>
        <dsp:cNvSpPr/>
      </dsp:nvSpPr>
      <dsp:spPr>
        <a:xfrm>
          <a:off x="4983542" y="1528355"/>
          <a:ext cx="189308" cy="3268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68728"/>
              </a:lnTo>
              <a:lnTo>
                <a:pt x="189308" y="3268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785743A-9234-4003-B80C-B019B3A12995}">
      <dsp:nvSpPr>
        <dsp:cNvPr id="0" name=""/>
        <dsp:cNvSpPr/>
      </dsp:nvSpPr>
      <dsp:spPr>
        <a:xfrm>
          <a:off x="4983542" y="1528355"/>
          <a:ext cx="189308" cy="23726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72667"/>
              </a:lnTo>
              <a:lnTo>
                <a:pt x="189308" y="23726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03890C-BA18-49E9-9FDC-9D8A361EE5FA}">
      <dsp:nvSpPr>
        <dsp:cNvPr id="0" name=""/>
        <dsp:cNvSpPr/>
      </dsp:nvSpPr>
      <dsp:spPr>
        <a:xfrm>
          <a:off x="4983542" y="1528355"/>
          <a:ext cx="189308" cy="14766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6606"/>
              </a:lnTo>
              <a:lnTo>
                <a:pt x="189308" y="147660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81A62B-42CD-4209-AECC-395BF6E79550}">
      <dsp:nvSpPr>
        <dsp:cNvPr id="0" name=""/>
        <dsp:cNvSpPr/>
      </dsp:nvSpPr>
      <dsp:spPr>
        <a:xfrm>
          <a:off x="4983542" y="1528355"/>
          <a:ext cx="189308" cy="580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0546"/>
              </a:lnTo>
              <a:lnTo>
                <a:pt x="189308" y="5805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FE4E2C-4668-4B1C-845F-9E50893E5E03}">
      <dsp:nvSpPr>
        <dsp:cNvPr id="0" name=""/>
        <dsp:cNvSpPr/>
      </dsp:nvSpPr>
      <dsp:spPr>
        <a:xfrm>
          <a:off x="3961275" y="632295"/>
          <a:ext cx="1527089" cy="2650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2516"/>
              </a:lnTo>
              <a:lnTo>
                <a:pt x="1527089" y="132516"/>
              </a:lnTo>
              <a:lnTo>
                <a:pt x="1527089" y="26503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2EE879-4350-4B4B-B8EF-CAD5DC80523B}">
      <dsp:nvSpPr>
        <dsp:cNvPr id="0" name=""/>
        <dsp:cNvSpPr/>
      </dsp:nvSpPr>
      <dsp:spPr>
        <a:xfrm>
          <a:off x="3456452" y="1528355"/>
          <a:ext cx="189308" cy="3268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68728"/>
              </a:lnTo>
              <a:lnTo>
                <a:pt x="189308" y="3268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2D826E1-8862-4EE3-8B67-D5E73BDE07BC}">
      <dsp:nvSpPr>
        <dsp:cNvPr id="0" name=""/>
        <dsp:cNvSpPr/>
      </dsp:nvSpPr>
      <dsp:spPr>
        <a:xfrm>
          <a:off x="3456452" y="1528355"/>
          <a:ext cx="189308" cy="23726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72667"/>
              </a:lnTo>
              <a:lnTo>
                <a:pt x="189308" y="23726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F924101-8DE2-4446-B95F-BA04683C8043}">
      <dsp:nvSpPr>
        <dsp:cNvPr id="0" name=""/>
        <dsp:cNvSpPr/>
      </dsp:nvSpPr>
      <dsp:spPr>
        <a:xfrm>
          <a:off x="3456452" y="1528355"/>
          <a:ext cx="189308" cy="14766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6606"/>
              </a:lnTo>
              <a:lnTo>
                <a:pt x="189308" y="147660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7C7554-B813-4E48-8C4F-DCAF09BD5906}">
      <dsp:nvSpPr>
        <dsp:cNvPr id="0" name=""/>
        <dsp:cNvSpPr/>
      </dsp:nvSpPr>
      <dsp:spPr>
        <a:xfrm>
          <a:off x="3456452" y="1528355"/>
          <a:ext cx="189308" cy="580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0546"/>
              </a:lnTo>
              <a:lnTo>
                <a:pt x="189308" y="5805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1B660C-8FAD-4877-8258-515443411B56}">
      <dsp:nvSpPr>
        <dsp:cNvPr id="0" name=""/>
        <dsp:cNvSpPr/>
      </dsp:nvSpPr>
      <dsp:spPr>
        <a:xfrm>
          <a:off x="3915555" y="632295"/>
          <a:ext cx="91440" cy="2650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6503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CE81266-573E-4EBA-A360-D7DB206A1D60}">
      <dsp:nvSpPr>
        <dsp:cNvPr id="0" name=""/>
        <dsp:cNvSpPr/>
      </dsp:nvSpPr>
      <dsp:spPr>
        <a:xfrm>
          <a:off x="1929363" y="1528355"/>
          <a:ext cx="189308" cy="326872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68728"/>
              </a:lnTo>
              <a:lnTo>
                <a:pt x="189308" y="3268728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FDD7FDC-36FC-470E-83E4-9846B99C85F0}">
      <dsp:nvSpPr>
        <dsp:cNvPr id="0" name=""/>
        <dsp:cNvSpPr/>
      </dsp:nvSpPr>
      <dsp:spPr>
        <a:xfrm>
          <a:off x="1929363" y="1528355"/>
          <a:ext cx="189308" cy="237266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72667"/>
              </a:lnTo>
              <a:lnTo>
                <a:pt x="189308" y="2372667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998986C-6B01-4403-9DB8-9BB4110C43DA}">
      <dsp:nvSpPr>
        <dsp:cNvPr id="0" name=""/>
        <dsp:cNvSpPr/>
      </dsp:nvSpPr>
      <dsp:spPr>
        <a:xfrm>
          <a:off x="1929363" y="1528355"/>
          <a:ext cx="189308" cy="147660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76606"/>
              </a:lnTo>
              <a:lnTo>
                <a:pt x="189308" y="147660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DF6EE11-F6FF-4A91-93BC-65B4B8D9A1BE}">
      <dsp:nvSpPr>
        <dsp:cNvPr id="0" name=""/>
        <dsp:cNvSpPr/>
      </dsp:nvSpPr>
      <dsp:spPr>
        <a:xfrm>
          <a:off x="1929363" y="1528355"/>
          <a:ext cx="189308" cy="58054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0546"/>
              </a:lnTo>
              <a:lnTo>
                <a:pt x="189308" y="580546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359947-087F-4CD9-A75C-A7405F02F739}">
      <dsp:nvSpPr>
        <dsp:cNvPr id="0" name=""/>
        <dsp:cNvSpPr/>
      </dsp:nvSpPr>
      <dsp:spPr>
        <a:xfrm>
          <a:off x="2434186" y="632295"/>
          <a:ext cx="1527089" cy="265032"/>
        </a:xfrm>
        <a:custGeom>
          <a:avLst/>
          <a:gdLst/>
          <a:ahLst/>
          <a:cxnLst/>
          <a:rect l="0" t="0" r="0" b="0"/>
          <a:pathLst>
            <a:path>
              <a:moveTo>
                <a:pt x="1527089" y="0"/>
              </a:moveTo>
              <a:lnTo>
                <a:pt x="1527089" y="132516"/>
              </a:lnTo>
              <a:lnTo>
                <a:pt x="0" y="132516"/>
              </a:lnTo>
              <a:lnTo>
                <a:pt x="0" y="26503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5D464CE-C410-4B55-9C85-EEB64AD06FB5}">
      <dsp:nvSpPr>
        <dsp:cNvPr id="0" name=""/>
        <dsp:cNvSpPr/>
      </dsp:nvSpPr>
      <dsp:spPr>
        <a:xfrm>
          <a:off x="2783770" y="1266"/>
          <a:ext cx="2355011" cy="631028"/>
        </a:xfrm>
        <a:prstGeom prst="rect">
          <a:avLst/>
        </a:prstGeom>
        <a:solidFill>
          <a:schemeClr val="accent2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ctuarial Study Program</a:t>
          </a:r>
          <a:endParaRPr lang="en-US" sz="1600" kern="1200" dirty="0"/>
        </a:p>
      </dsp:txBody>
      <dsp:txXfrm>
        <a:off x="2783770" y="1266"/>
        <a:ext cx="2355011" cy="631028"/>
      </dsp:txXfrm>
    </dsp:sp>
    <dsp:sp modelId="{76B7DFB5-71DB-4414-A1E6-66E25BCEAB3A}">
      <dsp:nvSpPr>
        <dsp:cNvPr id="0" name=""/>
        <dsp:cNvSpPr/>
      </dsp:nvSpPr>
      <dsp:spPr>
        <a:xfrm>
          <a:off x="1803157" y="897327"/>
          <a:ext cx="1262057" cy="631028"/>
        </a:xfrm>
        <a:prstGeom prst="rect">
          <a:avLst/>
        </a:prstGeom>
        <a:solidFill>
          <a:schemeClr val="accent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Study Support</a:t>
          </a:r>
          <a:endParaRPr lang="en-US" sz="1400" b="1" kern="1200" dirty="0">
            <a:solidFill>
              <a:srgbClr val="002060"/>
            </a:solidFill>
          </a:endParaRPr>
        </a:p>
      </dsp:txBody>
      <dsp:txXfrm>
        <a:off x="1803157" y="897327"/>
        <a:ext cx="1262057" cy="631028"/>
      </dsp:txXfrm>
    </dsp:sp>
    <dsp:sp modelId="{9C89A9C3-6C91-42CC-A2A5-0B68D4198168}">
      <dsp:nvSpPr>
        <dsp:cNvPr id="0" name=""/>
        <dsp:cNvSpPr/>
      </dsp:nvSpPr>
      <dsp:spPr>
        <a:xfrm>
          <a:off x="2118672" y="1793387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Study day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2118672" y="1793387"/>
        <a:ext cx="1262057" cy="631028"/>
      </dsp:txXfrm>
    </dsp:sp>
    <dsp:sp modelId="{07B64127-D279-42AF-9F81-A0C3350746D5}">
      <dsp:nvSpPr>
        <dsp:cNvPr id="0" name=""/>
        <dsp:cNvSpPr/>
      </dsp:nvSpPr>
      <dsp:spPr>
        <a:xfrm>
          <a:off x="2118672" y="2689448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Leave before exam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2118672" y="2689448"/>
        <a:ext cx="1262057" cy="631028"/>
      </dsp:txXfrm>
    </dsp:sp>
    <dsp:sp modelId="{A8558CBA-0850-40CC-92B8-8C63C7B64FCA}">
      <dsp:nvSpPr>
        <dsp:cNvPr id="0" name=""/>
        <dsp:cNvSpPr/>
      </dsp:nvSpPr>
      <dsp:spPr>
        <a:xfrm>
          <a:off x="2118672" y="3585509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Study Material &amp; Exam Fee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2118672" y="3585509"/>
        <a:ext cx="1262057" cy="631028"/>
      </dsp:txXfrm>
    </dsp:sp>
    <dsp:sp modelId="{34EAC2E4-E739-4680-B5CB-82CC68E6EB2C}">
      <dsp:nvSpPr>
        <dsp:cNvPr id="0" name=""/>
        <dsp:cNvSpPr/>
      </dsp:nvSpPr>
      <dsp:spPr>
        <a:xfrm>
          <a:off x="2118672" y="4481569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Study Mentor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2118672" y="4481569"/>
        <a:ext cx="1262057" cy="631028"/>
      </dsp:txXfrm>
    </dsp:sp>
    <dsp:sp modelId="{D727FE7F-FB70-48A2-8A78-9FE81BC69315}">
      <dsp:nvSpPr>
        <dsp:cNvPr id="0" name=""/>
        <dsp:cNvSpPr/>
      </dsp:nvSpPr>
      <dsp:spPr>
        <a:xfrm>
          <a:off x="3330247" y="897327"/>
          <a:ext cx="1262057" cy="631028"/>
        </a:xfrm>
        <a:prstGeom prst="rect">
          <a:avLst/>
        </a:prstGeom>
        <a:solidFill>
          <a:schemeClr val="accent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Financial Support</a:t>
          </a:r>
          <a:endParaRPr lang="en-US" sz="1400" b="1" kern="1200" dirty="0">
            <a:solidFill>
              <a:srgbClr val="002060"/>
            </a:solidFill>
          </a:endParaRPr>
        </a:p>
      </dsp:txBody>
      <dsp:txXfrm>
        <a:off x="3330247" y="897327"/>
        <a:ext cx="1262057" cy="631028"/>
      </dsp:txXfrm>
    </dsp:sp>
    <dsp:sp modelId="{123E7230-AD02-4EDA-888B-58EF4A71B5B7}">
      <dsp:nvSpPr>
        <dsp:cNvPr id="0" name=""/>
        <dsp:cNvSpPr/>
      </dsp:nvSpPr>
      <dsp:spPr>
        <a:xfrm>
          <a:off x="3645761" y="1793387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Higher starting pay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3645761" y="1793387"/>
        <a:ext cx="1262057" cy="631028"/>
      </dsp:txXfrm>
    </dsp:sp>
    <dsp:sp modelId="{095225D2-3CC3-4FFA-BC22-3824897F4E79}">
      <dsp:nvSpPr>
        <dsp:cNvPr id="0" name=""/>
        <dsp:cNvSpPr/>
      </dsp:nvSpPr>
      <dsp:spPr>
        <a:xfrm>
          <a:off x="3645761" y="2689448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Salary increases upon passing exam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3645761" y="2689448"/>
        <a:ext cx="1262057" cy="631028"/>
      </dsp:txXfrm>
    </dsp:sp>
    <dsp:sp modelId="{2B502816-F480-43B9-901C-618C2C610A16}">
      <dsp:nvSpPr>
        <dsp:cNvPr id="0" name=""/>
        <dsp:cNvSpPr/>
      </dsp:nvSpPr>
      <dsp:spPr>
        <a:xfrm>
          <a:off x="3645761" y="3585509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Promotion upon passing exam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3645761" y="3585509"/>
        <a:ext cx="1262057" cy="631028"/>
      </dsp:txXfrm>
    </dsp:sp>
    <dsp:sp modelId="{12E47CD0-3F92-4472-B15F-404D3F07588F}">
      <dsp:nvSpPr>
        <dsp:cNvPr id="0" name=""/>
        <dsp:cNvSpPr/>
      </dsp:nvSpPr>
      <dsp:spPr>
        <a:xfrm>
          <a:off x="3645761" y="4481569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accent5">
              <a:lumMod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Qualification Bonu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3645761" y="4481569"/>
        <a:ext cx="1262057" cy="631028"/>
      </dsp:txXfrm>
    </dsp:sp>
    <dsp:sp modelId="{9EC910E2-9920-474E-BCA6-BA1D2A431337}">
      <dsp:nvSpPr>
        <dsp:cNvPr id="0" name=""/>
        <dsp:cNvSpPr/>
      </dsp:nvSpPr>
      <dsp:spPr>
        <a:xfrm>
          <a:off x="4857336" y="897327"/>
          <a:ext cx="1262057" cy="631028"/>
        </a:xfrm>
        <a:prstGeom prst="rect">
          <a:avLst/>
        </a:prstGeom>
        <a:solidFill>
          <a:schemeClr val="accent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dirty="0" smtClean="0">
              <a:solidFill>
                <a:srgbClr val="002060"/>
              </a:solidFill>
            </a:rPr>
            <a:t>Professional Development</a:t>
          </a:r>
          <a:endParaRPr lang="en-US" sz="1400" b="1" kern="1200" dirty="0">
            <a:solidFill>
              <a:srgbClr val="002060"/>
            </a:solidFill>
          </a:endParaRPr>
        </a:p>
      </dsp:txBody>
      <dsp:txXfrm>
        <a:off x="4857336" y="897327"/>
        <a:ext cx="1262057" cy="631028"/>
      </dsp:txXfrm>
    </dsp:sp>
    <dsp:sp modelId="{CD724948-FDAB-40FB-93F0-BB133376568F}">
      <dsp:nvSpPr>
        <dsp:cNvPr id="0" name=""/>
        <dsp:cNvSpPr/>
      </dsp:nvSpPr>
      <dsp:spPr>
        <a:xfrm>
          <a:off x="5172850" y="1793387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In-house training by actuarie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5172850" y="1793387"/>
        <a:ext cx="1262057" cy="631028"/>
      </dsp:txXfrm>
    </dsp:sp>
    <dsp:sp modelId="{41F91D73-D1F0-48EE-BB08-E7E0E9FFA7CE}">
      <dsp:nvSpPr>
        <dsp:cNvPr id="0" name=""/>
        <dsp:cNvSpPr/>
      </dsp:nvSpPr>
      <dsp:spPr>
        <a:xfrm>
          <a:off x="5172850" y="2689448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Participation in local event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5172850" y="2689448"/>
        <a:ext cx="1262057" cy="631028"/>
      </dsp:txXfrm>
    </dsp:sp>
    <dsp:sp modelId="{08F70F84-F489-4C39-A449-6D0FA054DDFF}">
      <dsp:nvSpPr>
        <dsp:cNvPr id="0" name=""/>
        <dsp:cNvSpPr/>
      </dsp:nvSpPr>
      <dsp:spPr>
        <a:xfrm>
          <a:off x="5172850" y="3585509"/>
          <a:ext cx="1262057" cy="631028"/>
        </a:xfrm>
        <a:prstGeom prst="rect">
          <a:avLst/>
        </a:prstGeom>
        <a:solidFill>
          <a:schemeClr val="accent5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Participation in International events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5172850" y="3585509"/>
        <a:ext cx="1262057" cy="631028"/>
      </dsp:txXfrm>
    </dsp:sp>
    <dsp:sp modelId="{0F5E7265-C48C-4D5F-9FF4-A365B8207532}">
      <dsp:nvSpPr>
        <dsp:cNvPr id="0" name=""/>
        <dsp:cNvSpPr/>
      </dsp:nvSpPr>
      <dsp:spPr>
        <a:xfrm>
          <a:off x="5172850" y="4481569"/>
          <a:ext cx="1262057" cy="631028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kern="1200" dirty="0" smtClean="0">
              <a:solidFill>
                <a:srgbClr val="002060"/>
              </a:solidFill>
            </a:rPr>
            <a:t>CPD Credits Post-Qualification</a:t>
          </a:r>
          <a:endParaRPr lang="en-US" sz="1400" kern="1200" dirty="0">
            <a:solidFill>
              <a:srgbClr val="002060"/>
            </a:solidFill>
          </a:endParaRPr>
        </a:p>
      </dsp:txBody>
      <dsp:txXfrm>
        <a:off x="5172850" y="4481569"/>
        <a:ext cx="1262057" cy="63102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F687DB-1C3A-4C29-9B24-D59342B0B911}">
      <dsp:nvSpPr>
        <dsp:cNvPr id="0" name=""/>
        <dsp:cNvSpPr/>
      </dsp:nvSpPr>
      <dsp:spPr>
        <a:xfrm>
          <a:off x="8361" y="154555"/>
          <a:ext cx="2499157" cy="149949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>
              <a:solidFill>
                <a:schemeClr val="tx1"/>
              </a:solidFill>
            </a:rPr>
            <a:t>Installation of Telematics device</a:t>
          </a:r>
        </a:p>
      </dsp:txBody>
      <dsp:txXfrm>
        <a:off x="52280" y="198474"/>
        <a:ext cx="2411319" cy="1411656"/>
      </dsp:txXfrm>
    </dsp:sp>
    <dsp:sp modelId="{93EA9DC1-9DAA-4E17-A9F2-EEB016701A7B}">
      <dsp:nvSpPr>
        <dsp:cNvPr id="0" name=""/>
        <dsp:cNvSpPr/>
      </dsp:nvSpPr>
      <dsp:spPr>
        <a:xfrm>
          <a:off x="2727445" y="594407"/>
          <a:ext cx="529821" cy="61979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solidFill>
              <a:schemeClr val="tx1"/>
            </a:solidFill>
          </a:endParaRPr>
        </a:p>
      </dsp:txBody>
      <dsp:txXfrm>
        <a:off x="2727445" y="718365"/>
        <a:ext cx="370875" cy="371875"/>
      </dsp:txXfrm>
    </dsp:sp>
    <dsp:sp modelId="{866324B2-9086-4C9A-AE83-D8F16AB38A25}">
      <dsp:nvSpPr>
        <dsp:cNvPr id="0" name=""/>
        <dsp:cNvSpPr/>
      </dsp:nvSpPr>
      <dsp:spPr>
        <a:xfrm>
          <a:off x="3507182" y="154555"/>
          <a:ext cx="2499157" cy="1499494"/>
        </a:xfrm>
        <a:prstGeom prst="roundRect">
          <a:avLst>
            <a:gd name="adj" fmla="val 10000"/>
          </a:avLst>
        </a:prstGeom>
        <a:solidFill>
          <a:schemeClr val="accent2">
            <a:hueOff val="-1958813"/>
            <a:satOff val="-8500"/>
            <a:lumOff val="-2647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>
              <a:solidFill>
                <a:schemeClr val="tx1"/>
              </a:solidFill>
            </a:rPr>
            <a:t>Retrieving driver’s behavior and vehicle Information</a:t>
          </a:r>
        </a:p>
      </dsp:txBody>
      <dsp:txXfrm>
        <a:off x="3551101" y="198474"/>
        <a:ext cx="2411319" cy="1411656"/>
      </dsp:txXfrm>
    </dsp:sp>
    <dsp:sp modelId="{0F7DBF6C-5109-4C8F-ACAE-7609ACF80A01}">
      <dsp:nvSpPr>
        <dsp:cNvPr id="0" name=""/>
        <dsp:cNvSpPr/>
      </dsp:nvSpPr>
      <dsp:spPr>
        <a:xfrm>
          <a:off x="6226265" y="594407"/>
          <a:ext cx="529821" cy="61979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2611751"/>
            <a:satOff val="-11333"/>
            <a:lumOff val="-352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solidFill>
              <a:schemeClr val="tx1"/>
            </a:solidFill>
          </a:endParaRPr>
        </a:p>
      </dsp:txBody>
      <dsp:txXfrm>
        <a:off x="6226265" y="718365"/>
        <a:ext cx="370875" cy="371875"/>
      </dsp:txXfrm>
    </dsp:sp>
    <dsp:sp modelId="{87E61C4B-63F7-4782-BA68-999B7DB0FFD2}">
      <dsp:nvSpPr>
        <dsp:cNvPr id="0" name=""/>
        <dsp:cNvSpPr/>
      </dsp:nvSpPr>
      <dsp:spPr>
        <a:xfrm>
          <a:off x="7006002" y="154555"/>
          <a:ext cx="2499157" cy="1499494"/>
        </a:xfrm>
        <a:prstGeom prst="roundRect">
          <a:avLst>
            <a:gd name="adj" fmla="val 10000"/>
          </a:avLst>
        </a:prstGeom>
        <a:solidFill>
          <a:schemeClr val="accent2">
            <a:hueOff val="-3917626"/>
            <a:satOff val="-16999"/>
            <a:lumOff val="-5294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>
              <a:solidFill>
                <a:schemeClr val="tx1"/>
              </a:solidFill>
            </a:rPr>
            <a:t>Processing and analyzing data while maintaining confidentiality</a:t>
          </a:r>
        </a:p>
      </dsp:txBody>
      <dsp:txXfrm>
        <a:off x="7049921" y="198474"/>
        <a:ext cx="2411319" cy="1411656"/>
      </dsp:txXfrm>
    </dsp:sp>
    <dsp:sp modelId="{2642BF3F-E350-4055-837C-288325B1ECC7}">
      <dsp:nvSpPr>
        <dsp:cNvPr id="0" name=""/>
        <dsp:cNvSpPr/>
      </dsp:nvSpPr>
      <dsp:spPr>
        <a:xfrm rot="5400000">
          <a:off x="7659667" y="1828991"/>
          <a:ext cx="547560" cy="61979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5223502"/>
            <a:satOff val="-22666"/>
            <a:lumOff val="-7059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solidFill>
              <a:schemeClr val="tx1"/>
            </a:solidFill>
          </a:endParaRPr>
        </a:p>
      </dsp:txBody>
      <dsp:txXfrm rot="-5400000">
        <a:off x="7747509" y="1865107"/>
        <a:ext cx="371875" cy="383292"/>
      </dsp:txXfrm>
    </dsp:sp>
    <dsp:sp modelId="{120BFBC4-DB9A-40B5-81A8-024EEC8D22B6}">
      <dsp:nvSpPr>
        <dsp:cNvPr id="0" name=""/>
        <dsp:cNvSpPr/>
      </dsp:nvSpPr>
      <dsp:spPr>
        <a:xfrm>
          <a:off x="5701817" y="2653713"/>
          <a:ext cx="3803343" cy="1499494"/>
        </a:xfrm>
        <a:prstGeom prst="roundRect">
          <a:avLst>
            <a:gd name="adj" fmla="val 10000"/>
          </a:avLst>
        </a:prstGeom>
        <a:solidFill>
          <a:schemeClr val="accent2">
            <a:hueOff val="-5876440"/>
            <a:satOff val="-25499"/>
            <a:lumOff val="-7941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>
              <a:solidFill>
                <a:schemeClr val="tx1"/>
              </a:solidFill>
            </a:rPr>
            <a:t>Periodic report to the client</a:t>
          </a:r>
        </a:p>
      </dsp:txBody>
      <dsp:txXfrm>
        <a:off x="5745736" y="2697632"/>
        <a:ext cx="3715505" cy="1411656"/>
      </dsp:txXfrm>
    </dsp:sp>
    <dsp:sp modelId="{C53E87C4-E8BF-4FF9-8CAF-AA115CAE75AC}">
      <dsp:nvSpPr>
        <dsp:cNvPr id="0" name=""/>
        <dsp:cNvSpPr/>
      </dsp:nvSpPr>
      <dsp:spPr>
        <a:xfrm rot="10800000">
          <a:off x="4952070" y="3093565"/>
          <a:ext cx="529821" cy="61979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-7835252"/>
            <a:satOff val="-33999"/>
            <a:lumOff val="-10588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700" kern="1200">
            <a:solidFill>
              <a:schemeClr val="tx1"/>
            </a:solidFill>
          </a:endParaRPr>
        </a:p>
      </dsp:txBody>
      <dsp:txXfrm rot="10800000">
        <a:off x="5111016" y="3217523"/>
        <a:ext cx="370875" cy="371875"/>
      </dsp:txXfrm>
    </dsp:sp>
    <dsp:sp modelId="{B5CB49CF-C6FA-4070-9FFC-7E2107941319}">
      <dsp:nvSpPr>
        <dsp:cNvPr id="0" name=""/>
        <dsp:cNvSpPr/>
      </dsp:nvSpPr>
      <dsp:spPr>
        <a:xfrm>
          <a:off x="50897" y="2653713"/>
          <a:ext cx="4651257" cy="1499494"/>
        </a:xfrm>
        <a:prstGeom prst="roundRect">
          <a:avLst>
            <a:gd name="adj" fmla="val 10000"/>
          </a:avLst>
        </a:prstGeom>
        <a:solidFill>
          <a:schemeClr val="accent2">
            <a:hueOff val="-7835252"/>
            <a:satOff val="-33999"/>
            <a:lumOff val="-10588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>
              <a:solidFill>
                <a:schemeClr val="tx1"/>
              </a:solidFill>
            </a:rPr>
            <a:t>Actions to improve overall fleet profitability and safety by the client</a:t>
          </a:r>
        </a:p>
      </dsp:txBody>
      <dsp:txXfrm>
        <a:off x="94816" y="2697632"/>
        <a:ext cx="4563419" cy="14116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51275" y="2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x-non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851275" y="9430218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x-non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1588" y="9430218"/>
            <a:ext cx="2946400" cy="498008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BD6869AE-007F-4078-BFB5-1EB051D685B8}" type="slidenum">
              <a:rPr lang="x-none" smtClean="0"/>
              <a:pPr/>
              <a:t>‹#›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xmlns="" val="20480957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4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10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30091"/>
            <a:ext cx="2945659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022875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" y="746125"/>
            <a:ext cx="6613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678C09-6E2C-4EDE-A55F-4A96EF92B9D4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625123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73519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24866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06572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25890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52941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02872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33034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02863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34058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356633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10065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38135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487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39159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62557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40183" name="think-cell Slide" r:id="rId4" imgW="360" imgH="360" progId="">
              <p:embed/>
            </p:oleObj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x-none" dirty="0" smtClean="0"/>
              <a:t>نموذج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xmlns="" val="3142151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1087168342"/>
              </p:ext>
            </p:ext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3422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54938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10587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14379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6126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15684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419167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16708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71980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genda_divider"/>
          <p:cNvSpPr>
            <a:spLocks noChangeArrowheads="1"/>
          </p:cNvSpPr>
          <p:nvPr userDrawn="1"/>
        </p:nvSpPr>
        <p:spPr bwMode="gray">
          <a:xfrm>
            <a:off x="2565647" y="2751790"/>
            <a:ext cx="9626353" cy="1523494"/>
          </a:xfrm>
          <a:prstGeom prst="rect">
            <a:avLst/>
          </a:prstGeom>
          <a:solidFill>
            <a:schemeClr val="tx2"/>
          </a:solidFill>
          <a:ln w="12700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wrap="square" lIns="457200" tIns="228600" bIns="228600" anchor="ctr">
            <a:spAutoFit/>
          </a:bodyPr>
          <a:lstStyle/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  <a:p>
            <a:pPr algn="r">
              <a:spcBef>
                <a:spcPct val="20000"/>
              </a:spcBef>
            </a:pPr>
            <a:endParaRPr lang="x-none" sz="1500" b="1" dirty="0" smtClean="0">
              <a:solidFill>
                <a:srgbClr val="FFFFFF"/>
              </a:solidFill>
              <a:latin typeface="Sakkal Majalla" pitchFamily="2" charset="-78"/>
              <a:cs typeface="Sakkal Majalla" pitchFamily="2" charset="-78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-126858" y="2338658"/>
            <a:ext cx="2692505" cy="223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54985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20804" name="think-cell Slide" r:id="rId4" imgW="360" imgH="360" progId="">
              <p:embed/>
            </p:oleObj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5395998" y="1544713"/>
            <a:ext cx="6768092" cy="4276687"/>
          </a:xfrm>
          <a:prstGeom prst="rect">
            <a:avLst/>
          </a:prstGeom>
          <a:solidFill>
            <a:srgbClr val="F2F2F2">
              <a:alpha val="60000"/>
            </a:srgbClr>
          </a:solidFill>
          <a:ln w="9525">
            <a:solidFill>
              <a:schemeClr val="bg1">
                <a:lumMod val="9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 flipH="1">
            <a:off x="5345210" y="1544714"/>
            <a:ext cx="56270" cy="4276687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3077" y="2148446"/>
            <a:ext cx="5112000" cy="2980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80718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21828" name="think-cell Slide" r:id="rId4" imgW="360" imgH="360" progId="">
              <p:embed/>
            </p:oleObj>
          </a:graphicData>
        </a:graphic>
      </p:graphicFrame>
      <p:sp>
        <p:nvSpPr>
          <p:cNvPr id="15" name="Rectangle 14"/>
          <p:cNvSpPr/>
          <p:nvPr userDrawn="1"/>
        </p:nvSpPr>
        <p:spPr>
          <a:xfrm flipH="1">
            <a:off x="3174" y="266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Rectangle 16"/>
          <p:cNvSpPr/>
          <p:nvPr userDrawn="1"/>
        </p:nvSpPr>
        <p:spPr>
          <a:xfrm flipH="1">
            <a:off x="3178" y="6841990"/>
            <a:ext cx="12188822" cy="36000"/>
          </a:xfrm>
          <a:prstGeom prst="rect">
            <a:avLst/>
          </a:prstGeom>
          <a:solidFill>
            <a:srgbClr val="5BAD8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716549" y="1326602"/>
            <a:ext cx="6196633" cy="36128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40259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2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ags" Target="../tags/tag11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1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vmlDrawing" Target="../drawings/vmlDrawing16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xmlns="" val="2825769056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2398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9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Department</a:t>
            </a:r>
            <a:r>
              <a:rPr lang="en-US" sz="900" b="1" baseline="0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 – Topic – Date </a:t>
            </a:r>
            <a:endParaRPr lang="en-US" sz="9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1" r:id="rId2"/>
    <p:sldLayoutId id="214748366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14660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1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11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 smtClean="0">
                <a:solidFill>
                  <a:srgbClr val="000000"/>
                </a:solidFill>
                <a:latin typeface="Calibri" panose="020F0502020204030204" pitchFamily="34" charset="0"/>
                <a:cs typeface="Sakkal Majalla" panose="02000000000000000000" pitchFamily="2" charset="-78"/>
              </a:rPr>
              <a:t>Department – Topic – Date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96169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19780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1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11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 smtClean="0">
                <a:solidFill>
                  <a:srgbClr val="000000"/>
                </a:solidFill>
                <a:latin typeface="Calibri" panose="020F0502020204030204" pitchFamily="34" charset="0"/>
                <a:cs typeface="Sakkal Majalla" panose="02000000000000000000" pitchFamily="2" charset="-78"/>
              </a:rPr>
              <a:t>Department – Topic – Date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04781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23842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>
              <a:defRPr/>
            </a:pPr>
            <a:fld id="{9D53E389-1311-4796-9190-1F74A8EADEA2}" type="slidenum">
              <a:rPr lang="en-US" sz="11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sz="1100" dirty="0" smtClean="0">
              <a:solidFill>
                <a:srgbClr val="000000"/>
              </a:solidFill>
            </a:endParaRPr>
          </a:p>
          <a:p>
            <a:endParaRPr lang="en-US" sz="900" dirty="0" smtClean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b="1" dirty="0" smtClean="0">
                <a:solidFill>
                  <a:srgbClr val="000000"/>
                </a:solidFill>
                <a:latin typeface="Calibri" panose="020F0502020204030204" pitchFamily="34" charset="0"/>
                <a:cs typeface="Sakkal Majalla" panose="02000000000000000000" pitchFamily="2" charset="-78"/>
              </a:rPr>
              <a:t>Department – Topic – Date </a:t>
            </a:r>
            <a:endParaRPr lang="en-US" sz="900" b="1" dirty="0">
              <a:solidFill>
                <a:srgbClr val="000000"/>
              </a:solidFill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87781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32010" name="think-cell Slide" r:id="rId7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9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Department</a:t>
            </a:r>
            <a:r>
              <a:rPr lang="en-US" sz="900" b="1" baseline="0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 – Topic – Date </a:t>
            </a:r>
            <a:endParaRPr lang="en-US" sz="9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7548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p:oleObj spid="_x0000_s37112" name="think-cell Slide" r:id="rId8" imgW="360" imgH="360" progId="">
              <p:embed/>
            </p:oleObj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93433" y="2794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/>
          <a:p>
            <a:r>
              <a:rPr lang="en-US" dirty="0" smtClean="0"/>
              <a:t>Topic</a:t>
            </a:r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1636795" y="6670364"/>
            <a:ext cx="23446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 smtClean="0">
              <a:latin typeface="Arial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7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ontent:</a:t>
            </a:r>
          </a:p>
          <a:p>
            <a:pPr lvl="1"/>
            <a:r>
              <a:rPr lang="en-US" dirty="0" smtClean="0"/>
              <a:t>Content </a:t>
            </a:r>
          </a:p>
          <a:p>
            <a:pPr lvl="2"/>
            <a:r>
              <a:rPr lang="en-US" dirty="0" smtClean="0"/>
              <a:t>Content </a:t>
            </a:r>
            <a:endParaRPr lang="x-none" dirty="0" smtClean="0"/>
          </a:p>
          <a:p>
            <a:pPr lvl="3"/>
            <a:r>
              <a:rPr lang="en-US" dirty="0" smtClean="0"/>
              <a:t>Content </a:t>
            </a:r>
            <a:endParaRPr lang="x-none" dirty="0" smtClean="0"/>
          </a:p>
          <a:p>
            <a:pPr lvl="4"/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75028" y="618493"/>
            <a:ext cx="11991926" cy="45719"/>
          </a:xfrm>
          <a:prstGeom prst="rect">
            <a:avLst/>
          </a:prstGeom>
          <a:solidFill>
            <a:srgbClr val="177B57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-25102" y="6609447"/>
            <a:ext cx="147436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en-US" sz="900" b="1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Department</a:t>
            </a:r>
            <a:r>
              <a:rPr lang="en-US" sz="900" b="1" baseline="0" dirty="0" smtClean="0">
                <a:latin typeface="Calibri" panose="020F0502020204030204" pitchFamily="34" charset="0"/>
                <a:cs typeface="Sakkal Majalla" panose="02000000000000000000" pitchFamily="2" charset="-78"/>
              </a:rPr>
              <a:t> – Topic – Date </a:t>
            </a:r>
            <a:endParaRPr lang="en-US" sz="900" b="1" dirty="0">
              <a:latin typeface="Calibri" panose="020F0502020204030204" pitchFamily="34" charset="0"/>
              <a:cs typeface="Sakkal Majalla" panose="02000000000000000000" pitchFamily="2" charset="-78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1619770" y="6665915"/>
            <a:ext cx="7034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x-none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0373" r="28939" b="42114"/>
          <a:stretch/>
        </p:blipFill>
        <p:spPr>
          <a:xfrm>
            <a:off x="11350828" y="14150"/>
            <a:ext cx="724535" cy="600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47235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tx2"/>
          </a:solidFill>
          <a:latin typeface="Calibri" panose="020F0502020204030204" pitchFamily="34" charset="0"/>
          <a:ea typeface="+mj-ea"/>
          <a:cs typeface="Sakkal Majalla" panose="02000000000000000000" pitchFamily="2" charset="-78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800" b="1" kern="1200" baseline="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Sakkal Majalla" panose="02000000000000000000" pitchFamily="2" charset="-7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slideLayout" Target="../slideLayouts/slideLayout19.xml"/><Relationship Id="rId7" Type="http://schemas.openxmlformats.org/officeDocument/2006/relationships/diagramQuickStyle" Target="../diagrams/quickStyle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2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3" Type="http://schemas.openxmlformats.org/officeDocument/2006/relationships/slideLayout" Target="../slideLayouts/slideLayout19.xml"/><Relationship Id="rId7" Type="http://schemas.openxmlformats.org/officeDocument/2006/relationships/diagramQuickStyle" Target="../diagrams/quickStyle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diagramLayout" Target="../diagrams/layout2.xml"/><Relationship Id="rId5" Type="http://schemas.openxmlformats.org/officeDocument/2006/relationships/diagramData" Target="../diagrams/data2.xml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2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2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23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36107" y="3158012"/>
            <a:ext cx="9335589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Insurance Market Developments</a:t>
            </a:r>
          </a:p>
        </p:txBody>
      </p:sp>
      <p:sp>
        <p:nvSpPr>
          <p:cNvPr id="3" name="Rectangle 2"/>
          <p:cNvSpPr/>
          <p:nvPr/>
        </p:nvSpPr>
        <p:spPr>
          <a:xfrm>
            <a:off x="348238" y="5755698"/>
            <a:ext cx="24991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00" dirty="0" smtClean="0"/>
              <a:t>Omair Alvi, MA, FSA</a:t>
            </a:r>
          </a:p>
          <a:p>
            <a:r>
              <a:rPr lang="en-US" sz="1600" dirty="0" smtClean="0">
                <a:cs typeface="Arial" pitchFamily="34" charset="0"/>
              </a:rPr>
              <a:t>Insurance Advisor, SAMA</a:t>
            </a:r>
          </a:p>
        </p:txBody>
      </p:sp>
    </p:spTree>
    <p:extLst>
      <p:ext uri="{BB962C8B-B14F-4D97-AF65-F5344CB8AC3E}">
        <p14:creationId xmlns:p14="http://schemas.microsoft.com/office/powerpoint/2010/main" xmlns="" val="2442831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36107" y="3158012"/>
            <a:ext cx="9335589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Insurance Market</a:t>
            </a:r>
          </a:p>
        </p:txBody>
      </p:sp>
    </p:spTree>
    <p:extLst>
      <p:ext uri="{BB962C8B-B14F-4D97-AF65-F5344CB8AC3E}">
        <p14:creationId xmlns:p14="http://schemas.microsoft.com/office/powerpoint/2010/main" xmlns="" val="2259511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Insurance Market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93815" y="829658"/>
            <a:ext cx="9519497" cy="5509526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ife </a:t>
            </a:r>
          </a:p>
          <a:p>
            <a:pPr marL="742950" lvl="1" indent="-285750"/>
            <a:r>
              <a:rPr lang="en-US" sz="1600" dirty="0" smtClean="0"/>
              <a:t>Life Insurance </a:t>
            </a:r>
            <a:r>
              <a:rPr lang="en-US" sz="1600" dirty="0"/>
              <a:t>(Long Term)  </a:t>
            </a:r>
          </a:p>
          <a:p>
            <a:pPr marL="1200150" lvl="2" indent="-285750"/>
            <a:r>
              <a:rPr lang="en-US" sz="1600" dirty="0" smtClean="0"/>
              <a:t>Currently has the smallest share of GWP</a:t>
            </a: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Non-Life:</a:t>
            </a:r>
          </a:p>
          <a:p>
            <a:pPr marL="742950" lvl="1" indent="-285750"/>
            <a:r>
              <a:rPr lang="en-US" sz="1600" dirty="0" smtClean="0"/>
              <a:t>Health Insurance (1 Year) </a:t>
            </a:r>
            <a:r>
              <a:rPr lang="mr-IN" sz="1600" dirty="0" smtClean="0"/>
              <a:t>–</a:t>
            </a:r>
            <a:r>
              <a:rPr lang="en-US" sz="1600" dirty="0" smtClean="0"/>
              <a:t> </a:t>
            </a:r>
            <a:r>
              <a:rPr lang="en-US" sz="1600" u="sng" dirty="0" smtClean="0"/>
              <a:t>Compulsory</a:t>
            </a:r>
            <a:r>
              <a:rPr lang="en-US" sz="1600" dirty="0" smtClean="0"/>
              <a:t> </a:t>
            </a:r>
          </a:p>
          <a:p>
            <a:pPr marL="1200150" lvl="2" indent="-285750"/>
            <a:r>
              <a:rPr lang="en-US" sz="1600" dirty="0" smtClean="0"/>
              <a:t>Largest share of GWP of </a:t>
            </a:r>
            <a:r>
              <a:rPr lang="en-US" sz="1600" b="1" dirty="0" smtClean="0"/>
              <a:t>53%</a:t>
            </a:r>
          </a:p>
          <a:p>
            <a:pPr marL="742950" lvl="1" indent="-285750"/>
            <a:r>
              <a:rPr lang="en-US" sz="1600" dirty="0" smtClean="0"/>
              <a:t>Motor Insurance (1 Year) – </a:t>
            </a:r>
            <a:r>
              <a:rPr lang="en-US" sz="1600" u="sng" dirty="0" smtClean="0"/>
              <a:t>Compulsory</a:t>
            </a:r>
            <a:r>
              <a:rPr lang="en-US" sz="1600" dirty="0" smtClean="0"/>
              <a:t> </a:t>
            </a:r>
          </a:p>
          <a:p>
            <a:pPr marL="1200150" lvl="2" indent="-285750"/>
            <a:r>
              <a:rPr lang="en-US" sz="1600" dirty="0" smtClean="0"/>
              <a:t>Second largest share of GWP of </a:t>
            </a:r>
            <a:r>
              <a:rPr lang="en-US" sz="1600" b="1" dirty="0" smtClean="0"/>
              <a:t>32%</a:t>
            </a:r>
            <a:endParaRPr lang="en-US" sz="1600" b="1" dirty="0"/>
          </a:p>
          <a:p>
            <a:pPr marL="742950" lvl="1" indent="-285750"/>
            <a:r>
              <a:rPr lang="en-US" sz="1600" dirty="0" smtClean="0"/>
              <a:t>Other General Insurance </a:t>
            </a:r>
            <a:r>
              <a:rPr lang="en-US" sz="1600" dirty="0"/>
              <a:t>(1 Year</a:t>
            </a:r>
            <a:r>
              <a:rPr lang="en-US" sz="1600" dirty="0" smtClean="0"/>
              <a:t>) </a:t>
            </a:r>
          </a:p>
          <a:p>
            <a:pPr marL="1200150" lvl="2" indent="-285750"/>
            <a:r>
              <a:rPr lang="en-US" sz="1600" dirty="0" smtClean="0"/>
              <a:t>All other general lines has </a:t>
            </a:r>
            <a:r>
              <a:rPr lang="en-US" sz="1600" b="1" dirty="0" smtClean="0"/>
              <a:t>12%</a:t>
            </a:r>
            <a:r>
              <a:rPr lang="en-US" sz="1600" dirty="0" smtClean="0"/>
              <a:t> share of </a:t>
            </a:r>
            <a:r>
              <a:rPr lang="en-US" sz="1600" dirty="0"/>
              <a:t>GWP</a:t>
            </a:r>
          </a:p>
          <a:p>
            <a:pPr marL="1200150" lvl="2" indent="-285750"/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Overall Insurance GWP of SAR 27.6 Billion (USD 7.37 Billion)</a:t>
            </a:r>
            <a:endParaRPr lang="en-US" sz="1600" dirty="0"/>
          </a:p>
          <a:p>
            <a:pPr marL="742950" lvl="1" indent="-285750"/>
            <a:r>
              <a:rPr lang="en-US" sz="1600" dirty="0"/>
              <a:t>Compulsory Lines accounts for </a:t>
            </a:r>
            <a:r>
              <a:rPr lang="en-US" sz="1600" b="1" dirty="0"/>
              <a:t>85%</a:t>
            </a:r>
            <a:r>
              <a:rPr lang="en-US" sz="1600" dirty="0"/>
              <a:t> of the GWP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61162260"/>
              </p:ext>
            </p:extLst>
          </p:nvPr>
        </p:nvGraphicFramePr>
        <p:xfrm>
          <a:off x="5865949" y="1512768"/>
          <a:ext cx="5431374" cy="4143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249266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surance </a:t>
            </a:r>
            <a:r>
              <a:rPr lang="en-US" dirty="0" smtClean="0"/>
              <a:t>Market</a:t>
            </a:r>
            <a:endParaRPr lang="en-US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88713065"/>
              </p:ext>
            </p:extLst>
          </p:nvPr>
        </p:nvGraphicFramePr>
        <p:xfrm>
          <a:off x="193434" y="1879425"/>
          <a:ext cx="5618281" cy="3468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195248667"/>
              </p:ext>
            </p:extLst>
          </p:nvPr>
        </p:nvGraphicFramePr>
        <p:xfrm>
          <a:off x="6075485" y="1879424"/>
          <a:ext cx="5834252" cy="3468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xmlns="" val="99740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36107" y="3158012"/>
            <a:ext cx="9335589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Telematics</a:t>
            </a:r>
          </a:p>
        </p:txBody>
      </p:sp>
    </p:spTree>
    <p:extLst>
      <p:ext uri="{BB962C8B-B14F-4D97-AF65-F5344CB8AC3E}">
        <p14:creationId xmlns:p14="http://schemas.microsoft.com/office/powerpoint/2010/main" xmlns="" val="115192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Evolution of Telematics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575235" y="1147185"/>
            <a:ext cx="9519497" cy="4582248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/>
              <a:buChar char="•"/>
            </a:pPr>
            <a:r>
              <a:rPr lang="en-GB" sz="2000" b="0" dirty="0" smtClean="0"/>
              <a:t>The </a:t>
            </a:r>
            <a:r>
              <a:rPr lang="en-GB" sz="2000" b="0" dirty="0"/>
              <a:t>introduction of telematics to the insurance industry has </a:t>
            </a:r>
            <a:r>
              <a:rPr lang="en-GB" sz="2000" dirty="0"/>
              <a:t>changed</a:t>
            </a:r>
            <a:r>
              <a:rPr lang="en-GB" sz="2000" b="0" dirty="0"/>
              <a:t> the way drivers </a:t>
            </a:r>
            <a:r>
              <a:rPr lang="en-GB" sz="2000" b="0" dirty="0" smtClean="0"/>
              <a:t>insure </a:t>
            </a:r>
            <a:r>
              <a:rPr lang="en-GB" sz="2000" b="0" dirty="0"/>
              <a:t>their vehicles</a:t>
            </a:r>
            <a:r>
              <a:rPr lang="en-GB" sz="2000" b="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Usage</a:t>
            </a:r>
            <a:r>
              <a:rPr lang="en-GB" sz="2000" dirty="0"/>
              <a:t>-based insurance </a:t>
            </a:r>
            <a:r>
              <a:rPr lang="en-GB" sz="2000" b="0" dirty="0"/>
              <a:t>(UBI) has become increasingly popular in many countries, including the US, Italy, South Africa and the UK</a:t>
            </a:r>
            <a:r>
              <a:rPr lang="en-GB" sz="2000" b="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UBI</a:t>
            </a:r>
            <a:r>
              <a:rPr lang="en-GB" sz="2000" b="0" dirty="0" smtClean="0"/>
              <a:t> (also known as </a:t>
            </a:r>
            <a:r>
              <a:rPr lang="en-GB" sz="2000" dirty="0" smtClean="0"/>
              <a:t>pay as you drive</a:t>
            </a:r>
            <a:r>
              <a:rPr lang="en-GB" sz="2000" b="0" dirty="0" smtClean="0"/>
              <a:t>) is where the insurance </a:t>
            </a:r>
            <a:r>
              <a:rPr lang="en-GB" sz="2000" dirty="0" smtClean="0"/>
              <a:t>cost</a:t>
            </a:r>
            <a:r>
              <a:rPr lang="en-GB" sz="2000" b="0" dirty="0" smtClean="0"/>
              <a:t> depends upon the </a:t>
            </a:r>
            <a:r>
              <a:rPr lang="en-GB" sz="2000" b="0" u="sng" dirty="0" smtClean="0"/>
              <a:t>type of vehicle used</a:t>
            </a:r>
            <a:r>
              <a:rPr lang="en-GB" sz="2000" b="0" dirty="0" smtClean="0"/>
              <a:t>, </a:t>
            </a:r>
            <a:r>
              <a:rPr lang="en-GB" sz="2000" b="0" u="sng" dirty="0" smtClean="0"/>
              <a:t>driving behaviour</a:t>
            </a:r>
            <a:r>
              <a:rPr lang="en-GB" sz="2000" b="0" dirty="0" smtClean="0"/>
              <a:t>, </a:t>
            </a:r>
            <a:r>
              <a:rPr lang="en-GB" sz="2000" b="0" u="sng" dirty="0" smtClean="0"/>
              <a:t>mileage</a:t>
            </a:r>
            <a:r>
              <a:rPr lang="en-GB" sz="2000" b="0" dirty="0" smtClean="0"/>
              <a:t> etc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 smtClean="0"/>
              <a:t>In </a:t>
            </a:r>
            <a:r>
              <a:rPr lang="en-US" sz="2000" b="0" dirty="0"/>
              <a:t>2015, close to </a:t>
            </a:r>
            <a:r>
              <a:rPr lang="en-US" sz="2000" dirty="0"/>
              <a:t>12 million </a:t>
            </a:r>
            <a:r>
              <a:rPr lang="en-US" sz="2000" b="0" dirty="0"/>
              <a:t>consumers globally subscribed to UBI, and the same is expected to grow to </a:t>
            </a:r>
            <a:r>
              <a:rPr lang="en-US" sz="2000" dirty="0"/>
              <a:t>142 million</a:t>
            </a:r>
            <a:r>
              <a:rPr lang="en-US" sz="2000" b="0" dirty="0"/>
              <a:t> globally by </a:t>
            </a:r>
            <a:r>
              <a:rPr lang="en-US" sz="2000" b="0" dirty="0" smtClean="0"/>
              <a:t>2023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b="0" dirty="0" smtClean="0"/>
              <a:t>The </a:t>
            </a:r>
            <a:r>
              <a:rPr lang="en-GB" sz="2000" b="0" dirty="0"/>
              <a:t>reason for growth is simple; it help drivers </a:t>
            </a:r>
            <a:r>
              <a:rPr lang="en-GB" sz="2000" dirty="0"/>
              <a:t>save money </a:t>
            </a:r>
            <a:r>
              <a:rPr lang="en-GB" sz="2000" b="0" dirty="0"/>
              <a:t>and dramatically </a:t>
            </a:r>
            <a:r>
              <a:rPr lang="en-GB" sz="2000" dirty="0"/>
              <a:t>improves road </a:t>
            </a:r>
            <a:r>
              <a:rPr lang="en-GB" sz="2000" dirty="0" smtClean="0"/>
              <a:t>safety</a:t>
            </a:r>
            <a:r>
              <a:rPr lang="en-GB" sz="2000" b="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2000" b="0" dirty="0"/>
          </a:p>
        </p:txBody>
      </p:sp>
    </p:spTree>
    <p:extLst>
      <p:ext uri="{BB962C8B-B14F-4D97-AF65-F5344CB8AC3E}">
        <p14:creationId xmlns:p14="http://schemas.microsoft.com/office/powerpoint/2010/main" xmlns="" val="3838543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What is </a:t>
            </a:r>
            <a:r>
              <a:rPr lang="en-US" dirty="0"/>
              <a:t>T</a:t>
            </a:r>
            <a:r>
              <a:rPr lang="en-US" dirty="0" smtClean="0"/>
              <a:t>elematics? 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134197B-A14C-4134-8DDA-727140D6418C}"/>
              </a:ext>
            </a:extLst>
          </p:cNvPr>
          <p:cNvSpPr txBox="1"/>
          <p:nvPr/>
        </p:nvSpPr>
        <p:spPr>
          <a:xfrm>
            <a:off x="506327" y="1127004"/>
            <a:ext cx="112651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t is one of the oldest “IOT” (Internet of things) solutions but in constant progress…..</a:t>
            </a:r>
          </a:p>
        </p:txBody>
      </p:sp>
      <p:pic>
        <p:nvPicPr>
          <p:cNvPr id="7" name="Content Placeholder 5">
            <a:extLst>
              <a:ext uri="{FF2B5EF4-FFF2-40B4-BE49-F238E27FC236}">
                <a16:creationId xmlns:a16="http://schemas.microsoft.com/office/drawing/2014/main" xmlns="" id="{A6B977B2-9E4D-4AC8-8753-CC6C0A1B0B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50" t="19369" b="10836"/>
          <a:stretch/>
        </p:blipFill>
        <p:spPr>
          <a:xfrm>
            <a:off x="506327" y="2287456"/>
            <a:ext cx="10971531" cy="3477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47191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What is </a:t>
            </a:r>
            <a:r>
              <a:rPr lang="en-US" dirty="0"/>
              <a:t>T</a:t>
            </a:r>
            <a:r>
              <a:rPr lang="en-US" dirty="0" smtClean="0"/>
              <a:t>elematics?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134197B-A14C-4134-8DDA-727140D6418C}"/>
              </a:ext>
            </a:extLst>
          </p:cNvPr>
          <p:cNvSpPr txBox="1"/>
          <p:nvPr/>
        </p:nvSpPr>
        <p:spPr>
          <a:xfrm>
            <a:off x="344691" y="917912"/>
            <a:ext cx="11265188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dirty="0" smtClean="0"/>
              <a:t>The </a:t>
            </a:r>
            <a:r>
              <a:rPr lang="en-US" sz="2000" dirty="0"/>
              <a:t>basic idea of telematics </a:t>
            </a:r>
            <a:r>
              <a:rPr lang="en-US" sz="2000" b="1" dirty="0"/>
              <a:t>auto insurance </a:t>
            </a:r>
            <a:r>
              <a:rPr lang="en-US" sz="2000" dirty="0"/>
              <a:t>is that a </a:t>
            </a:r>
            <a:r>
              <a:rPr lang="en-US" sz="2000" b="1" dirty="0"/>
              <a:t>driver's behavior </a:t>
            </a:r>
            <a:r>
              <a:rPr lang="en-US" sz="2000" dirty="0"/>
              <a:t>is monitored </a:t>
            </a:r>
            <a:r>
              <a:rPr lang="en-US" sz="2000" u="sng" dirty="0"/>
              <a:t>directly</a:t>
            </a:r>
            <a:r>
              <a:rPr lang="en-US" sz="2000" dirty="0"/>
              <a:t> while the person </a:t>
            </a:r>
            <a:r>
              <a:rPr lang="en-US" sz="2000" dirty="0" smtClean="0"/>
              <a:t>drives.</a:t>
            </a:r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 smtClean="0"/>
              <a:t>The </a:t>
            </a:r>
            <a:r>
              <a:rPr lang="en-US" sz="2000" b="1" dirty="0"/>
              <a:t>telematics </a:t>
            </a:r>
            <a:r>
              <a:rPr lang="en-US" sz="2000" b="1" dirty="0" smtClean="0"/>
              <a:t>device </a:t>
            </a:r>
            <a:r>
              <a:rPr lang="en-US" sz="2000" dirty="0"/>
              <a:t>measure a number of elements of interest to </a:t>
            </a:r>
            <a:r>
              <a:rPr lang="en-US" sz="2000" u="sng" dirty="0"/>
              <a:t>underwriters</a:t>
            </a:r>
            <a:r>
              <a:rPr lang="en-US" sz="2000" dirty="0"/>
              <a:t>, </a:t>
            </a:r>
            <a:r>
              <a:rPr lang="en-US" sz="2000" u="sng" dirty="0"/>
              <a:t>actuaries</a:t>
            </a:r>
            <a:r>
              <a:rPr lang="en-US" sz="2000" dirty="0"/>
              <a:t> and </a:t>
            </a:r>
            <a:r>
              <a:rPr lang="en-US" sz="2000" u="sng" dirty="0"/>
              <a:t>data scientists</a:t>
            </a:r>
            <a:r>
              <a:rPr lang="en-US" sz="2000" dirty="0"/>
              <a:t>: </a:t>
            </a:r>
            <a:r>
              <a:rPr lang="en-US" sz="2000" b="1" dirty="0"/>
              <a:t>miles driven</a:t>
            </a:r>
            <a:r>
              <a:rPr lang="en-US" sz="2000" dirty="0"/>
              <a:t>; </a:t>
            </a:r>
            <a:r>
              <a:rPr lang="en-US" sz="2000" b="1" dirty="0"/>
              <a:t>time of day</a:t>
            </a:r>
            <a:r>
              <a:rPr lang="en-US" sz="2000" dirty="0"/>
              <a:t>; </a:t>
            </a:r>
            <a:r>
              <a:rPr lang="en-US" sz="2000" b="1" dirty="0"/>
              <a:t>where the vehicle is driven </a:t>
            </a:r>
            <a:r>
              <a:rPr lang="en-US" sz="2000" dirty="0"/>
              <a:t>(GPS); </a:t>
            </a:r>
            <a:r>
              <a:rPr lang="en-US" sz="2000" b="1" dirty="0"/>
              <a:t>rapid acceleration</a:t>
            </a:r>
            <a:r>
              <a:rPr lang="en-US" sz="2000" dirty="0"/>
              <a:t>; </a:t>
            </a:r>
            <a:r>
              <a:rPr lang="en-US" sz="2000" b="1" dirty="0"/>
              <a:t>hard braking</a:t>
            </a:r>
            <a:r>
              <a:rPr lang="en-US" sz="2000" dirty="0"/>
              <a:t>; </a:t>
            </a:r>
            <a:r>
              <a:rPr lang="en-US" sz="2000" b="1" dirty="0"/>
              <a:t>hard cornering</a:t>
            </a:r>
            <a:r>
              <a:rPr lang="en-US" sz="2000" dirty="0"/>
              <a:t>; and </a:t>
            </a:r>
            <a:r>
              <a:rPr lang="en-US" sz="2000" b="1" dirty="0"/>
              <a:t>air bag </a:t>
            </a:r>
            <a:r>
              <a:rPr lang="en-US" sz="2000" b="1" dirty="0" smtClean="0"/>
              <a:t>deployment</a:t>
            </a:r>
            <a:r>
              <a:rPr lang="en-GB" sz="2000" dirty="0" smtClean="0"/>
              <a:t>. </a:t>
            </a:r>
          </a:p>
          <a:p>
            <a:pPr marL="342900" indent="-342900">
              <a:buFont typeface="Arial"/>
              <a:buChar char="•"/>
            </a:pPr>
            <a:endParaRPr lang="en-GB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 smtClean="0"/>
              <a:t>The </a:t>
            </a:r>
            <a:r>
              <a:rPr lang="en-US" sz="2000" dirty="0"/>
              <a:t>level of data collected generally reflects the telematics technology employed and the policyholders’ willingness to share personal data. </a:t>
            </a:r>
            <a:endParaRPr lang="en-US" sz="2000" dirty="0" smtClean="0"/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 smtClean="0"/>
              <a:t>The </a:t>
            </a:r>
            <a:r>
              <a:rPr lang="en-US" sz="2000" dirty="0"/>
              <a:t>insurance company then assesses the data and provide periodic report to the </a:t>
            </a:r>
            <a:r>
              <a:rPr lang="en-US" sz="2000" dirty="0" smtClean="0"/>
              <a:t>client (and charges insurance premium accordingly).</a:t>
            </a:r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 smtClean="0"/>
              <a:t>The insurance company </a:t>
            </a:r>
            <a:r>
              <a:rPr lang="en-US" sz="2000" dirty="0"/>
              <a:t>then can take actions to improve the overall health, profitability and productivity of the fleet</a:t>
            </a:r>
            <a:r>
              <a:rPr lang="en-US" sz="2000" dirty="0" smtClean="0"/>
              <a:t>.</a:t>
            </a:r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b="1" dirty="0" smtClean="0"/>
              <a:t>Example:</a:t>
            </a:r>
            <a:r>
              <a:rPr lang="en-US" sz="2000" dirty="0" smtClean="0"/>
              <a:t> a driver who drives long distance at high speed will be charged a higher rate than a driver who drives short distances a slower speeds. </a:t>
            </a:r>
            <a:endParaRPr lang="en-GB" sz="20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3174529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How this technology works?</a:t>
            </a:r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xmlns="" id="{12F43A50-945E-44B1-A944-BCB23666E4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74130080"/>
              </p:ext>
            </p:extLst>
          </p:nvPr>
        </p:nvGraphicFramePr>
        <p:xfrm>
          <a:off x="1339238" y="1482824"/>
          <a:ext cx="9513522" cy="43077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08816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Estimated size of the global vehicle telematics market between 2014-2022</a:t>
            </a:r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xmlns="" id="{BD52F408-559B-4B7A-B7E0-F28181149C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4723" y="1522127"/>
            <a:ext cx="9022554" cy="42317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289636" y="959714"/>
            <a:ext cx="2317641" cy="374942"/>
          </a:xfrm>
        </p:spPr>
        <p:txBody>
          <a:bodyPr>
            <a:normAutofit/>
          </a:bodyPr>
          <a:lstStyle/>
          <a:p>
            <a:pPr algn="r"/>
            <a:r>
              <a:rPr lang="en-GB" sz="2000" b="0" dirty="0" smtClean="0"/>
              <a:t>In USD Billion</a:t>
            </a:r>
          </a:p>
        </p:txBody>
      </p:sp>
    </p:spTree>
    <p:extLst>
      <p:ext uri="{BB962C8B-B14F-4D97-AF65-F5344CB8AC3E}">
        <p14:creationId xmlns:p14="http://schemas.microsoft.com/office/powerpoint/2010/main" xmlns="" val="1840245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What are the benefits of Telematics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4134197B-A14C-4134-8DDA-727140D6418C}"/>
              </a:ext>
            </a:extLst>
          </p:cNvPr>
          <p:cNvSpPr txBox="1"/>
          <p:nvPr/>
        </p:nvSpPr>
        <p:spPr>
          <a:xfrm>
            <a:off x="344691" y="1197312"/>
            <a:ext cx="11265188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000" dirty="0"/>
              <a:t>Enhance safety </a:t>
            </a:r>
          </a:p>
          <a:p>
            <a:pPr marL="342900" indent="-342900">
              <a:buFont typeface="Arial"/>
              <a:buChar char="•"/>
            </a:pPr>
            <a:endParaRPr lang="en-US" sz="2000" dirty="0" smtClean="0"/>
          </a:p>
          <a:p>
            <a:pPr marL="342900" indent="-342900">
              <a:buFont typeface="Arial"/>
              <a:buChar char="•"/>
            </a:pPr>
            <a:r>
              <a:rPr lang="en-US" sz="2000" dirty="0"/>
              <a:t>Improve driver attitude</a:t>
            </a:r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/>
              <a:t>Maintenance predication</a:t>
            </a:r>
          </a:p>
          <a:p>
            <a:r>
              <a:rPr lang="en-GB" sz="2000" dirty="0" smtClean="0"/>
              <a:t> </a:t>
            </a:r>
            <a:endParaRPr lang="en-GB" sz="2000" dirty="0"/>
          </a:p>
          <a:p>
            <a:pPr marL="342900" indent="-342900">
              <a:buFont typeface="Arial"/>
              <a:buChar char="•"/>
              <a:defRPr/>
            </a:pPr>
            <a:r>
              <a:rPr lang="en-US" sz="2000" dirty="0"/>
              <a:t>Reduce vehicle </a:t>
            </a:r>
            <a:r>
              <a:rPr lang="en-US" sz="2000" dirty="0" smtClean="0"/>
              <a:t>maintenance</a:t>
            </a:r>
          </a:p>
          <a:p>
            <a:pPr marL="342900" indent="-342900">
              <a:buFont typeface="Arial"/>
              <a:buChar char="•"/>
              <a:defRPr/>
            </a:pPr>
            <a:endParaRPr lang="en-US" sz="2000" dirty="0"/>
          </a:p>
          <a:p>
            <a:pPr marL="342900" indent="-342900">
              <a:buFont typeface="Arial"/>
              <a:buChar char="•"/>
              <a:defRPr/>
            </a:pPr>
            <a:r>
              <a:rPr lang="en-US" sz="2000" dirty="0"/>
              <a:t>Emergency responses </a:t>
            </a:r>
          </a:p>
          <a:p>
            <a:pPr marL="342900" indent="-342900">
              <a:buFont typeface="Arial"/>
              <a:buChar char="•"/>
            </a:pPr>
            <a:endParaRPr lang="en-US" sz="2000" dirty="0"/>
          </a:p>
          <a:p>
            <a:pPr marL="342900" indent="-342900">
              <a:buFont typeface="Arial"/>
              <a:buChar char="•"/>
            </a:pPr>
            <a:r>
              <a:rPr lang="en-US" sz="2000" dirty="0"/>
              <a:t>Accident </a:t>
            </a:r>
            <a:r>
              <a:rPr lang="en-US" sz="2000" dirty="0" smtClean="0"/>
              <a:t>investiga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xmlns="" val="4034917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429" y="1083051"/>
            <a:ext cx="11114258" cy="5599605"/>
          </a:xfrm>
        </p:spPr>
        <p:txBody>
          <a:bodyPr>
            <a:normAutofit/>
          </a:bodyPr>
          <a:lstStyle/>
          <a:p>
            <a:r>
              <a:rPr lang="en-US" sz="2000" dirty="0" smtClean="0"/>
              <a:t>1. Roadmap for an Actu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r>
              <a:rPr lang="en-US" sz="2000" dirty="0" smtClean="0"/>
              <a:t>2. Insurance Market</a:t>
            </a:r>
          </a:p>
          <a:p>
            <a:endParaRPr lang="en-US" sz="2000" dirty="0"/>
          </a:p>
          <a:p>
            <a:r>
              <a:rPr lang="en-US" sz="2000" dirty="0" smtClean="0"/>
              <a:t>3. Telema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r>
              <a:rPr lang="en-US" sz="2000" dirty="0"/>
              <a:t>4</a:t>
            </a:r>
            <a:r>
              <a:rPr lang="en-US" sz="2000" dirty="0" smtClean="0"/>
              <a:t>. Introduction to Life Insurance Product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lvl="1" indent="0">
              <a:buNone/>
            </a:pPr>
            <a:endParaRPr lang="en-US" sz="29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b="0" dirty="0" smtClean="0"/>
          </a:p>
          <a:p>
            <a:pPr lvl="2">
              <a:lnSpc>
                <a:spcPct val="150000"/>
              </a:lnSpc>
            </a:pPr>
            <a:endParaRPr lang="en-US" dirty="0"/>
          </a:p>
          <a:p>
            <a:pPr>
              <a:lnSpc>
                <a:spcPct val="200000"/>
              </a:lnSpc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xmlns="" val="188920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134197B-A14C-4134-8DDA-727140D6418C}"/>
              </a:ext>
            </a:extLst>
          </p:cNvPr>
          <p:cNvSpPr txBox="1"/>
          <p:nvPr/>
        </p:nvSpPr>
        <p:spPr>
          <a:xfrm>
            <a:off x="524740" y="1189677"/>
            <a:ext cx="11265188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1" indent="-285750">
              <a:buFont typeface="Arial"/>
              <a:buChar char="•"/>
            </a:pPr>
            <a:r>
              <a:rPr lang="en-US" sz="2000" dirty="0"/>
              <a:t>Rates of hardware and software </a:t>
            </a:r>
            <a:endParaRPr lang="en-US" sz="2000" dirty="0" smtClean="0"/>
          </a:p>
          <a:p>
            <a:pPr marL="285750" lvl="1" indent="-285750">
              <a:buFont typeface="Arial"/>
              <a:buChar char="•"/>
            </a:pPr>
            <a:endParaRPr lang="en-US" sz="2000" dirty="0"/>
          </a:p>
          <a:p>
            <a:pPr marL="285750" lvl="1" indent="-285750">
              <a:buFont typeface="Arial"/>
              <a:buChar char="•"/>
            </a:pPr>
            <a:r>
              <a:rPr lang="en-US" sz="2000" dirty="0"/>
              <a:t>Batteries service life </a:t>
            </a:r>
            <a:endParaRPr lang="en-US" sz="2000" dirty="0" smtClean="0"/>
          </a:p>
          <a:p>
            <a:pPr marL="285750" lvl="1" indent="-285750">
              <a:buFont typeface="Arial"/>
              <a:buChar char="•"/>
            </a:pPr>
            <a:endParaRPr lang="en-US" sz="2000" dirty="0"/>
          </a:p>
          <a:p>
            <a:pPr marL="285750" lvl="1" indent="-285750">
              <a:buFont typeface="Arial"/>
              <a:buChar char="•"/>
            </a:pPr>
            <a:r>
              <a:rPr lang="en-US" sz="2000" dirty="0" smtClean="0"/>
              <a:t>Meeting all telematics standards</a:t>
            </a:r>
          </a:p>
          <a:p>
            <a:pPr marL="0" lvl="1"/>
            <a:endParaRPr lang="en-US" sz="2000" dirty="0" smtClean="0"/>
          </a:p>
          <a:p>
            <a:pPr marL="285750" lvl="1" indent="-285750">
              <a:buFont typeface="Arial"/>
              <a:buChar char="•"/>
            </a:pPr>
            <a:r>
              <a:rPr lang="en-US" sz="2000" dirty="0"/>
              <a:t>Negotiating with Telecommunication companies</a:t>
            </a:r>
          </a:p>
          <a:p>
            <a:pPr marL="285750" lvl="1" indent="-285750">
              <a:buFont typeface="Arial"/>
              <a:buChar char="•"/>
            </a:pPr>
            <a:endParaRPr lang="en-US" sz="2000" dirty="0" smtClean="0"/>
          </a:p>
          <a:p>
            <a:pPr marL="285750" lvl="1" indent="-285750">
              <a:buFont typeface="Arial"/>
              <a:buChar char="•"/>
            </a:pPr>
            <a:r>
              <a:rPr lang="en-US" sz="2000" dirty="0"/>
              <a:t>Negotiating with Big data analysis companies </a:t>
            </a:r>
            <a:endParaRPr lang="en-US" sz="2000" dirty="0" smtClean="0"/>
          </a:p>
          <a:p>
            <a:pPr marL="0" lvl="1"/>
            <a:endParaRPr lang="en-US" sz="2000" dirty="0"/>
          </a:p>
          <a:p>
            <a:pPr marL="285750" lvl="1" indent="-285750">
              <a:buFont typeface="Arial"/>
              <a:buChar char="•"/>
            </a:pPr>
            <a:endParaRPr lang="en-US" sz="2000" dirty="0"/>
          </a:p>
          <a:p>
            <a:endParaRPr lang="en-US" dirty="0"/>
          </a:p>
          <a:p>
            <a:endParaRPr lang="en-US" sz="20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75752" y="0"/>
            <a:ext cx="11716304" cy="57831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Sakkal Majalla" panose="02000000000000000000" pitchFamily="2" charset="-78"/>
              </a:defRPr>
            </a:lvl1pPr>
          </a:lstStyle>
          <a:p>
            <a:r>
              <a:rPr lang="en-US" dirty="0" smtClean="0"/>
              <a:t>What are the challenges of Telematics?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3995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36107" y="3158012"/>
            <a:ext cx="9335589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Life Insurance Products</a:t>
            </a:r>
          </a:p>
        </p:txBody>
      </p:sp>
    </p:spTree>
    <p:extLst>
      <p:ext uri="{BB962C8B-B14F-4D97-AF65-F5344CB8AC3E}">
        <p14:creationId xmlns:p14="http://schemas.microsoft.com/office/powerpoint/2010/main" xmlns="" val="1487789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Life Insurance Products</a:t>
            </a: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03677" y="727892"/>
            <a:ext cx="9519497" cy="190304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sz="1600" b="1" dirty="0" smtClean="0"/>
              <a:t>Conventional Products</a:t>
            </a:r>
          </a:p>
          <a:p>
            <a:pPr marL="342900" indent="-342900">
              <a:buAutoNum type="arabicPeriod"/>
            </a:pPr>
            <a:endParaRPr lang="en-US" sz="1600" b="1" dirty="0" smtClean="0"/>
          </a:p>
          <a:p>
            <a:pPr marL="342900" indent="-342900">
              <a:buAutoNum type="arabicPeriod"/>
            </a:pPr>
            <a:endParaRPr lang="en-US" sz="1600" b="1" dirty="0" smtClean="0"/>
          </a:p>
          <a:p>
            <a:pPr marL="342900" indent="-342900">
              <a:buAutoNum type="arabicPeriod"/>
            </a:pPr>
            <a:r>
              <a:rPr lang="en-US" sz="1600" b="1" dirty="0" smtClean="0"/>
              <a:t>Takaful Products</a:t>
            </a:r>
          </a:p>
        </p:txBody>
      </p:sp>
    </p:spTree>
    <p:extLst>
      <p:ext uri="{BB962C8B-B14F-4D97-AF65-F5344CB8AC3E}">
        <p14:creationId xmlns:p14="http://schemas.microsoft.com/office/powerpoint/2010/main" xmlns="" val="3422189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Life Insurance Produc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8596" y="1591831"/>
            <a:ext cx="9519497" cy="4582248"/>
          </a:xfrm>
        </p:spPr>
        <p:txBody>
          <a:bodyPr>
            <a:normAutofit fontScale="77500" lnSpcReduction="20000"/>
          </a:bodyPr>
          <a:lstStyle/>
          <a:p>
            <a:r>
              <a:rPr lang="en-US" sz="2100" b="0" dirty="0"/>
              <a:t>There are two basic forms of conventional life insurance: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100" b="0" dirty="0" smtClean="0"/>
          </a:p>
          <a:p>
            <a:pPr marL="800100" lvl="1" indent="-342900">
              <a:buFont typeface="+mj-lt"/>
              <a:buAutoNum type="arabicParenR"/>
            </a:pPr>
            <a:r>
              <a:rPr lang="en-US" sz="2100" b="1" dirty="0" smtClean="0"/>
              <a:t>Term </a:t>
            </a:r>
            <a:r>
              <a:rPr lang="en-US" sz="2100" b="1" dirty="0"/>
              <a:t>Insurance</a:t>
            </a:r>
            <a:r>
              <a:rPr lang="en-US" sz="2100" dirty="0"/>
              <a:t> (Protection </a:t>
            </a:r>
            <a:r>
              <a:rPr lang="en-US" sz="2100" dirty="0" smtClean="0"/>
              <a:t>Only)</a:t>
            </a:r>
          </a:p>
          <a:p>
            <a:pPr marL="1257300" lvl="2" indent="-342900">
              <a:buFont typeface="+mj-lt"/>
              <a:buAutoNum type="arabicParenR"/>
            </a:pPr>
            <a:endParaRPr lang="en-US" sz="2100" dirty="0" smtClean="0"/>
          </a:p>
          <a:p>
            <a:pPr marL="800100" lvl="1" indent="-342900">
              <a:buFont typeface="+mj-lt"/>
              <a:buAutoNum type="arabicParenR"/>
            </a:pPr>
            <a:r>
              <a:rPr lang="en-US" sz="2100" b="1" dirty="0" smtClean="0"/>
              <a:t>Permanent </a:t>
            </a:r>
            <a:r>
              <a:rPr lang="en-US" sz="2100" b="1" dirty="0"/>
              <a:t>Insurance </a:t>
            </a:r>
            <a:r>
              <a:rPr lang="en-US" sz="2100" dirty="0"/>
              <a:t>(Protection &amp; Savings)</a:t>
            </a:r>
            <a:r>
              <a:rPr lang="en-US" sz="2100" dirty="0" smtClean="0"/>
              <a:t>.</a:t>
            </a:r>
          </a:p>
          <a:p>
            <a:r>
              <a:rPr lang="en-US" sz="2100" dirty="0" smtClean="0"/>
              <a:t>		</a:t>
            </a:r>
            <a:r>
              <a:rPr lang="en-US" sz="2100" b="0" dirty="0" smtClean="0"/>
              <a:t>- Whole Life</a:t>
            </a:r>
          </a:p>
          <a:p>
            <a:r>
              <a:rPr lang="en-US" sz="2100" b="0" dirty="0"/>
              <a:t>	</a:t>
            </a:r>
            <a:r>
              <a:rPr lang="en-US" sz="2100" b="0" dirty="0" smtClean="0"/>
              <a:t>	- Endowment</a:t>
            </a:r>
          </a:p>
          <a:p>
            <a:r>
              <a:rPr lang="en-US" sz="2100" b="0" dirty="0"/>
              <a:t>	</a:t>
            </a:r>
            <a:r>
              <a:rPr lang="en-US" sz="2100" b="0" dirty="0" smtClean="0"/>
              <a:t>	- Universal Life</a:t>
            </a:r>
          </a:p>
          <a:p>
            <a:r>
              <a:rPr lang="en-US" sz="2100" b="0" dirty="0" smtClean="0"/>
              <a:t>		- Variable Universal Life/Unit-Linked</a:t>
            </a:r>
          </a:p>
          <a:p>
            <a:endParaRPr lang="en-US" sz="2100" dirty="0" smtClean="0"/>
          </a:p>
          <a:p>
            <a:r>
              <a:rPr lang="en-US" sz="2100" dirty="0" smtClean="0"/>
              <a:t>Riders/Supplementary Benefits:</a:t>
            </a:r>
            <a:endParaRPr lang="en-US" sz="2100" dirty="0"/>
          </a:p>
          <a:p>
            <a:pPr marL="1257300" lvl="2" indent="-342900">
              <a:buFontTx/>
              <a:buChar char="-"/>
            </a:pPr>
            <a:r>
              <a:rPr lang="en-US" sz="2100" dirty="0" smtClean="0"/>
              <a:t>Accidental Death Benefit (ADB)</a:t>
            </a:r>
          </a:p>
          <a:p>
            <a:pPr marL="1257300" lvl="2" indent="-342900">
              <a:buFontTx/>
              <a:buChar char="-"/>
            </a:pPr>
            <a:r>
              <a:rPr lang="en-US" sz="2100" dirty="0" smtClean="0"/>
              <a:t>Waiver </a:t>
            </a:r>
            <a:r>
              <a:rPr lang="en-US" sz="2100" dirty="0"/>
              <a:t>of Premium (WP)</a:t>
            </a:r>
            <a:endParaRPr lang="en-US" sz="2100" dirty="0" smtClean="0"/>
          </a:p>
          <a:p>
            <a:pPr marL="1257300" lvl="2" indent="-342900">
              <a:buFontTx/>
              <a:buChar char="-"/>
            </a:pPr>
            <a:r>
              <a:rPr lang="en-US" sz="2100" dirty="0"/>
              <a:t>Critical Illness (CI</a:t>
            </a:r>
            <a:r>
              <a:rPr lang="en-US" sz="2100" dirty="0" smtClean="0"/>
              <a:t>)</a:t>
            </a:r>
          </a:p>
          <a:p>
            <a:pPr marL="1257300" lvl="2" indent="-342900">
              <a:buFontTx/>
              <a:buChar char="-"/>
            </a:pPr>
            <a:r>
              <a:rPr lang="en-US" sz="2100" dirty="0" smtClean="0"/>
              <a:t>Disability / Disability Income:</a:t>
            </a:r>
          </a:p>
          <a:p>
            <a:pPr lvl="4">
              <a:buFont typeface="Wingdings" panose="05000000000000000000" pitchFamily="2" charset="2"/>
              <a:buChar char="§"/>
            </a:pPr>
            <a:r>
              <a:rPr lang="en-US" sz="2100" dirty="0" smtClean="0"/>
              <a:t>Permanent </a:t>
            </a:r>
            <a:r>
              <a:rPr lang="en-US" sz="2100" dirty="0"/>
              <a:t>Total Disability (PTD)</a:t>
            </a:r>
          </a:p>
          <a:p>
            <a:pPr lvl="4">
              <a:buFont typeface="Wingdings" panose="05000000000000000000" pitchFamily="2" charset="2"/>
              <a:buChar char="§"/>
            </a:pPr>
            <a:r>
              <a:rPr lang="en-US" sz="2100" dirty="0"/>
              <a:t>Permanent Partial Disability (PPD)</a:t>
            </a:r>
          </a:p>
          <a:p>
            <a:pPr lvl="4">
              <a:buFont typeface="Wingdings" panose="05000000000000000000" pitchFamily="2" charset="2"/>
              <a:buChar char="§"/>
            </a:pPr>
            <a:r>
              <a:rPr lang="en-US" sz="2100" dirty="0"/>
              <a:t>Temporary Total Disability (TTD)</a:t>
            </a:r>
          </a:p>
          <a:p>
            <a:pPr marL="1257300" lvl="2" indent="-342900">
              <a:buFontTx/>
              <a:buChar char="-"/>
            </a:pPr>
            <a:endParaRPr lang="en-US" dirty="0"/>
          </a:p>
          <a:p>
            <a:pPr marL="1257300" lvl="2" indent="-342900">
              <a:buFontTx/>
              <a:buChar char="-"/>
            </a:pPr>
            <a:endParaRPr lang="en-US" dirty="0"/>
          </a:p>
          <a:p>
            <a:pPr lvl="2" indent="0">
              <a:buNone/>
            </a:pPr>
            <a:endParaRPr lang="en-US" b="0" dirty="0" smtClean="0"/>
          </a:p>
          <a:p>
            <a:pPr marL="1257300" lvl="2" indent="-342900"/>
            <a:endParaRPr lang="en-US" b="0" dirty="0" smtClean="0"/>
          </a:p>
          <a:p>
            <a:pPr lvl="3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endParaRPr lang="en-US" b="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544934" y="880533"/>
            <a:ext cx="9519497" cy="8526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>
              <a:buAutoNum type="arabicPeriod"/>
            </a:pPr>
            <a:r>
              <a:rPr lang="en-US" sz="1600" b="1" dirty="0" smtClean="0"/>
              <a:t>Conventional Life Insurance</a:t>
            </a:r>
          </a:p>
          <a:p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xmlns="" val="130029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Life Insurance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6406" y="1711460"/>
            <a:ext cx="11716304" cy="4582248"/>
          </a:xfrm>
        </p:spPr>
        <p:txBody>
          <a:bodyPr>
            <a:normAutofit/>
          </a:bodyPr>
          <a:lstStyle/>
          <a:p>
            <a:r>
              <a:rPr lang="en-US" sz="2000" b="0" dirty="0"/>
              <a:t>The different types of </a:t>
            </a:r>
            <a:r>
              <a:rPr lang="en-US" sz="2000" b="0" dirty="0" smtClean="0"/>
              <a:t>features available in a life </a:t>
            </a:r>
            <a:r>
              <a:rPr lang="en-US" sz="2000" b="0" dirty="0"/>
              <a:t>insurance policies include:</a:t>
            </a:r>
          </a:p>
          <a:p>
            <a:endParaRPr lang="en-US" b="0" dirty="0" smtClean="0"/>
          </a:p>
          <a:p>
            <a:pPr lvl="2">
              <a:lnSpc>
                <a:spcPct val="150000"/>
              </a:lnSpc>
            </a:pPr>
            <a:endParaRPr lang="en-US" dirty="0" smtClean="0"/>
          </a:p>
          <a:p>
            <a:pPr>
              <a:lnSpc>
                <a:spcPct val="200000"/>
              </a:lnSpc>
            </a:pPr>
            <a:endParaRPr lang="en-US" b="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75696" y="706595"/>
            <a:ext cx="11716304" cy="11636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/>
              <a:t>Summary Table</a:t>
            </a:r>
            <a:endParaRPr lang="en-US" sz="20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3322962"/>
              </p:ext>
            </p:extLst>
          </p:nvPr>
        </p:nvGraphicFramePr>
        <p:xfrm>
          <a:off x="1125415" y="2351905"/>
          <a:ext cx="2491062" cy="298573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9106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14864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eatures: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2847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Death Benefi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53163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Investment in the marke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1482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ash Value (Guaranteed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27685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lexible Payment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82847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Low Monthly 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Premium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82847">
                <a:tc>
                  <a:txBody>
                    <a:bodyPr/>
                    <a:lstStyle/>
                    <a:p>
                      <a:pPr marL="0" marR="0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und Choic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623893178"/>
              </p:ext>
            </p:extLst>
          </p:nvPr>
        </p:nvGraphicFramePr>
        <p:xfrm>
          <a:off x="3616478" y="2351905"/>
          <a:ext cx="931984" cy="51486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319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14864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Term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29271598"/>
              </p:ext>
            </p:extLst>
          </p:nvPr>
        </p:nvGraphicFramePr>
        <p:xfrm>
          <a:off x="4548462" y="2356127"/>
          <a:ext cx="1075397" cy="506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7539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6574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Whole Lif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93239213"/>
              </p:ext>
            </p:extLst>
          </p:nvPr>
        </p:nvGraphicFramePr>
        <p:xfrm>
          <a:off x="5629721" y="2352007"/>
          <a:ext cx="1182858" cy="51069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828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10694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Endowment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20973556"/>
              </p:ext>
            </p:extLst>
          </p:nvPr>
        </p:nvGraphicFramePr>
        <p:xfrm>
          <a:off x="8089575" y="2360353"/>
          <a:ext cx="1153551" cy="5064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35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6417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Unit-Linked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02766933"/>
              </p:ext>
            </p:extLst>
          </p:nvPr>
        </p:nvGraphicFramePr>
        <p:xfrm>
          <a:off x="6769771" y="2356127"/>
          <a:ext cx="1333305" cy="506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3330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06574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dirty="0" smtClean="0">
                          <a:solidFill>
                            <a:schemeClr val="tx1"/>
                          </a:solidFill>
                          <a:effectLst/>
                        </a:rPr>
                        <a:t>Universal Life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72080885"/>
              </p:ext>
            </p:extLst>
          </p:nvPr>
        </p:nvGraphicFramePr>
        <p:xfrm>
          <a:off x="3616479" y="2883426"/>
          <a:ext cx="562664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81381092"/>
              </p:ext>
            </p:extLst>
          </p:nvPr>
        </p:nvGraphicFramePr>
        <p:xfrm>
          <a:off x="3616479" y="3264517"/>
          <a:ext cx="5626649" cy="4398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39841"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*</a:t>
                      </a:r>
                      <a:endParaRPr lang="en-US" sz="20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2542" marR="112542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42760195"/>
              </p:ext>
            </p:extLst>
          </p:nvPr>
        </p:nvGraphicFramePr>
        <p:xfrm>
          <a:off x="3616479" y="3704357"/>
          <a:ext cx="5626649" cy="4284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2843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6" name="Table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08018121"/>
              </p:ext>
            </p:extLst>
          </p:nvPr>
        </p:nvGraphicFramePr>
        <p:xfrm>
          <a:off x="3616479" y="4150347"/>
          <a:ext cx="5626649" cy="4146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1463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marL="112542" marR="112542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7" name="Table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369042166"/>
              </p:ext>
            </p:extLst>
          </p:nvPr>
        </p:nvGraphicFramePr>
        <p:xfrm>
          <a:off x="3616479" y="4564984"/>
          <a:ext cx="5626649" cy="4018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01815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28" name="Table 2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31522838"/>
              </p:ext>
            </p:extLst>
          </p:nvPr>
        </p:nvGraphicFramePr>
        <p:xfrm>
          <a:off x="3616479" y="4966799"/>
          <a:ext cx="5626649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57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7472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456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3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21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84406" marR="84406" marT="0" marB="0" anchor="b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903069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/>
              <a:t>Life Insurance Produc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9333" y="1431374"/>
            <a:ext cx="9519497" cy="4582248"/>
          </a:xfrm>
        </p:spPr>
        <p:txBody>
          <a:bodyPr>
            <a:normAutofit/>
          </a:bodyPr>
          <a:lstStyle/>
          <a:p>
            <a:r>
              <a:rPr lang="en-US" sz="1700" b="0" dirty="0"/>
              <a:t>There are two types of Takaful Insurance plans: </a:t>
            </a:r>
            <a:endParaRPr lang="en-US" sz="1700" b="0" dirty="0" smtClean="0"/>
          </a:p>
          <a:p>
            <a:endParaRPr lang="en-US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Family Takaful: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/>
              <a:t>Family Takaful (Protection, Protection &amp; Savings</a:t>
            </a:r>
            <a:r>
              <a:rPr lang="en-US" sz="1700" dirty="0" smtClean="0"/>
              <a:t>)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 smtClean="0"/>
              <a:t>Investment </a:t>
            </a:r>
            <a:r>
              <a:rPr lang="en-US" sz="1700" dirty="0"/>
              <a:t>linked Takaful (Protection &amp; Savings) </a:t>
            </a:r>
            <a:endParaRPr lang="en-US" sz="1700" dirty="0" smtClean="0"/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 smtClean="0"/>
              <a:t>Child </a:t>
            </a:r>
            <a:r>
              <a:rPr lang="en-US" sz="1700" dirty="0"/>
              <a:t>Education Takaful (Protection &amp; Savings)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/>
              <a:t>Medical &amp; Health </a:t>
            </a:r>
            <a:r>
              <a:rPr lang="en-US" sz="1700" dirty="0" smtClean="0"/>
              <a:t>Takaful</a:t>
            </a:r>
          </a:p>
          <a:p>
            <a:pPr lvl="1"/>
            <a:endParaRPr lang="en-US" sz="17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dirty="0"/>
              <a:t>General Takaful: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/>
              <a:t>Motor Takafu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/>
              <a:t>Property Takafu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/>
              <a:t>Engineering &amp; Marine </a:t>
            </a:r>
            <a:r>
              <a:rPr lang="en-US" sz="1700" dirty="0" smtClean="0"/>
              <a:t>Takafu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dirty="0" smtClean="0"/>
              <a:t>Personal </a:t>
            </a:r>
            <a:r>
              <a:rPr lang="en-US" sz="1700" dirty="0"/>
              <a:t>Accident </a:t>
            </a:r>
            <a:r>
              <a:rPr lang="en-US" sz="1700" dirty="0" smtClean="0"/>
              <a:t>Takaful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sz="1700" b="0" dirty="0" smtClean="0"/>
              <a:t>Other</a:t>
            </a:r>
          </a:p>
          <a:p>
            <a:pPr lvl="2">
              <a:lnSpc>
                <a:spcPct val="150000"/>
              </a:lnSpc>
            </a:pPr>
            <a:endParaRPr lang="en-US" dirty="0"/>
          </a:p>
          <a:p>
            <a:pPr>
              <a:lnSpc>
                <a:spcPct val="200000"/>
              </a:lnSpc>
            </a:pPr>
            <a:endParaRPr lang="en-US" b="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26956" y="606250"/>
            <a:ext cx="9519497" cy="9122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b="1" dirty="0" smtClean="0"/>
              <a:t>2. Takaful </a:t>
            </a:r>
            <a:r>
              <a:rPr lang="en-US" sz="1600" b="1" dirty="0"/>
              <a:t>Insuranc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62516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229971" y="2805754"/>
            <a:ext cx="3019326" cy="8526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b="1" dirty="0" smtClean="0"/>
              <a:t>Questions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xmlns="" val="2303870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636107" y="3158012"/>
            <a:ext cx="9335589" cy="735756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r>
              <a:rPr lang="en-US" sz="3600" dirty="0" smtClean="0">
                <a:solidFill>
                  <a:schemeClr val="bg1"/>
                </a:solidFill>
              </a:rPr>
              <a:t>Roadmap for an Actuary</a:t>
            </a:r>
          </a:p>
        </p:txBody>
      </p:sp>
    </p:spTree>
    <p:extLst>
      <p:ext uri="{BB962C8B-B14F-4D97-AF65-F5344CB8AC3E}">
        <p14:creationId xmlns:p14="http://schemas.microsoft.com/office/powerpoint/2010/main" xmlns="" val="3960038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46329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3" y="10160"/>
            <a:ext cx="11716304" cy="598630"/>
          </a:xfrm>
        </p:spPr>
        <p:txBody>
          <a:bodyPr/>
          <a:lstStyle/>
          <a:p>
            <a:r>
              <a:rPr lang="en-US" dirty="0" smtClean="0"/>
              <a:t>Typical Development Roadmap for an Actuary in Saudi</a:t>
            </a:r>
            <a:endParaRPr lang="x-none" dirty="0"/>
          </a:p>
        </p:txBody>
      </p:sp>
      <p:sp>
        <p:nvSpPr>
          <p:cNvPr id="2" name="TextBox 1"/>
          <p:cNvSpPr txBox="1"/>
          <p:nvPr/>
        </p:nvSpPr>
        <p:spPr>
          <a:xfrm>
            <a:off x="193433" y="758268"/>
            <a:ext cx="9160681" cy="427979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e following demonstrates an overview of a typical development roadmap for an Actuary in Saudi. </a:t>
            </a: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500222299"/>
              </p:ext>
            </p:extLst>
          </p:nvPr>
        </p:nvGraphicFramePr>
        <p:xfrm>
          <a:off x="256375" y="1129935"/>
          <a:ext cx="11357362" cy="19180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5" name="Rectangle 4"/>
          <p:cNvSpPr/>
          <p:nvPr/>
        </p:nvSpPr>
        <p:spPr>
          <a:xfrm>
            <a:off x="394989" y="2654431"/>
            <a:ext cx="1540935" cy="26468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80000"/>
            </a:pP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Bachelor’s Degree (expected)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t is expected all students to have a Bachelor’s Degree (preferably in Actuarial Science)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97368" y="2661005"/>
            <a:ext cx="1735666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80000"/>
            </a:pP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election of the Actuarial Examination Body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Graduates can select either ‘US’ (SOA/CAS) or ‘UK’ (</a:t>
            </a:r>
            <a:r>
              <a:rPr lang="en-US" sz="14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FoA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 examination body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st graduates in Saudi opt for US (SOA) as their bachelor’s degree follows the ‘US’ curriculum (for initial exams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227261" y="2646377"/>
            <a:ext cx="3091552" cy="37240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80000"/>
            </a:pP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 be covered by an ‘Actuarial Study Program’ (ASP)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endParaRPr lang="en-US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st markets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ost major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insurance companies with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uarial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esources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have some form of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n Actuarial </a:t>
            </a: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dy Program (ASP).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P broadly covers three main items:</a:t>
            </a:r>
          </a:p>
          <a:p>
            <a:pPr marL="685800" lvl="1" indent="-228600">
              <a:buClr>
                <a:schemeClr val="tx2"/>
              </a:buClr>
              <a:buSzPct val="80000"/>
              <a:buFont typeface="+mj-lt"/>
              <a:buAutoNum type="arabicPeriod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udy Support</a:t>
            </a:r>
          </a:p>
          <a:p>
            <a:pPr marL="685800" lvl="1" indent="-228600">
              <a:buClr>
                <a:schemeClr val="tx2"/>
              </a:buClr>
              <a:buSzPct val="80000"/>
              <a:buFont typeface="+mj-lt"/>
              <a:buAutoNum type="arabicPeriod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inancial Support</a:t>
            </a:r>
          </a:p>
          <a:p>
            <a:pPr marL="685800" lvl="1" indent="-228600">
              <a:buClr>
                <a:schemeClr val="tx2"/>
              </a:buClr>
              <a:buSzPct val="80000"/>
              <a:buFont typeface="+mj-lt"/>
              <a:buAutoNum type="arabicPeriod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fessional Development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SP to greatly assist actuarial resources to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qualify  - note exam </a:t>
            </a:r>
            <a:r>
              <a:rPr lang="en-US" sz="1400" dirty="0" smtClean="0"/>
              <a:t>passing </a:t>
            </a:r>
            <a:r>
              <a:rPr lang="en-US" sz="1400" dirty="0"/>
              <a:t>rate is low </a:t>
            </a:r>
            <a:r>
              <a:rPr lang="en-US" sz="1400" dirty="0" smtClean="0"/>
              <a:t>worldwide (</a:t>
            </a:r>
            <a:r>
              <a:rPr lang="en-US" sz="1400" dirty="0"/>
              <a:t>&lt;50</a:t>
            </a:r>
            <a:r>
              <a:rPr lang="en-US" sz="1400" dirty="0" smtClean="0"/>
              <a:t>%). </a:t>
            </a:r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580404" y="1186247"/>
            <a:ext cx="5042019" cy="397201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endParaRPr lang="en-US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96537" y="1136126"/>
            <a:ext cx="5298394" cy="397201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5 Years-------------------Avg. 6-7 Years-------------------10 Years</a:t>
            </a:r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9684413" y="2655936"/>
            <a:ext cx="938010" cy="913203"/>
          </a:xfrm>
          <a:prstGeom prst="straightConnector1">
            <a:avLst/>
          </a:prstGeom>
          <a:ln w="38100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9400549" y="3639468"/>
            <a:ext cx="2443746" cy="1628308"/>
          </a:xfrm>
          <a:prstGeom prst="rect">
            <a:avLst/>
          </a:prstGeom>
          <a:noFill/>
          <a:ln w="38100">
            <a:solidFill>
              <a:srgbClr val="0070C0"/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  <p:txBody>
          <a:bodyPr wrap="square" tIns="90000" bIns="90000" rtlCol="0" anchor="t">
            <a:spAutoFit/>
          </a:bodyPr>
          <a:lstStyle/>
          <a:p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Supported by:</a:t>
            </a:r>
          </a:p>
          <a:p>
            <a:r>
              <a:rPr lang="en-US" sz="1400" b="1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1</a:t>
            </a:r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)   Company Actuarial Function (AF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On the Job </a:t>
            </a:r>
            <a:r>
              <a:rPr lang="en-US" sz="12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Train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Study Mentoring</a:t>
            </a:r>
          </a:p>
          <a:p>
            <a:pPr marL="342900" indent="-342900">
              <a:buAutoNum type="arabicParenR" startAt="2"/>
            </a:pPr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External Consultants </a:t>
            </a:r>
          </a:p>
          <a:p>
            <a:r>
              <a:rPr lang="en-US" sz="1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/Appointed Actuaries</a:t>
            </a:r>
            <a:endParaRPr lang="en-US" sz="1200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048882" y="2646377"/>
            <a:ext cx="1531521" cy="37240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buSzPct val="80000"/>
            </a:pP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tarts working </a:t>
            </a:r>
          </a:p>
          <a:p>
            <a:pPr>
              <a:buClr>
                <a:schemeClr val="tx2"/>
              </a:buClr>
              <a:buSzPct val="80000"/>
            </a:pP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full time</a:t>
            </a:r>
          </a:p>
          <a:p>
            <a:pPr>
              <a:buClr>
                <a:schemeClr val="tx2"/>
              </a:buClr>
              <a:buSzPct val="80000"/>
            </a:pP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uarial students have the </a:t>
            </a:r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ual responsibility 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working full time and also   studying to pass actuarial exams</a:t>
            </a:r>
          </a:p>
          <a:p>
            <a:pPr marL="177800" indent="-177800">
              <a:buClr>
                <a:schemeClr val="tx2"/>
              </a:buClr>
              <a:buSzPct val="80000"/>
              <a:buFont typeface="Wingdings" panose="05000000000000000000" pitchFamily="2" charset="2"/>
              <a:buChar char="l"/>
            </a:pPr>
            <a:r>
              <a:rPr lang="en-US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Few initial exams passed 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t graduation to help in job search.</a:t>
            </a:r>
            <a:endParaRPr lang="en-US" sz="14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85040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49330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3" y="10160"/>
            <a:ext cx="11716304" cy="598630"/>
          </a:xfrm>
        </p:spPr>
        <p:txBody>
          <a:bodyPr/>
          <a:lstStyle/>
          <a:p>
            <a:r>
              <a:rPr lang="en-US" dirty="0"/>
              <a:t>‘Sample’ Actuarial Study Program (ASP)</a:t>
            </a:r>
            <a:endParaRPr lang="x-none" dirty="0"/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xmlns="" val="1537597673"/>
              </p:ext>
            </p:extLst>
          </p:nvPr>
        </p:nvGraphicFramePr>
        <p:xfrm>
          <a:off x="1932552" y="941206"/>
          <a:ext cx="8238066" cy="5113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xmlns="" val="64469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47332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3" y="10160"/>
            <a:ext cx="11716304" cy="598630"/>
          </a:xfrm>
        </p:spPr>
        <p:txBody>
          <a:bodyPr/>
          <a:lstStyle/>
          <a:p>
            <a:r>
              <a:rPr lang="en-US" dirty="0" smtClean="0"/>
              <a:t>Benefits to Employers along the Journey</a:t>
            </a:r>
            <a:endParaRPr lang="x-none" dirty="0"/>
          </a:p>
        </p:txBody>
      </p:sp>
      <p:sp>
        <p:nvSpPr>
          <p:cNvPr id="2" name="TextBox 1"/>
          <p:cNvSpPr txBox="1"/>
          <p:nvPr/>
        </p:nvSpPr>
        <p:spPr>
          <a:xfrm>
            <a:off x="193433" y="760281"/>
            <a:ext cx="12148967" cy="674200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ctuarial students will be </a:t>
            </a:r>
            <a:r>
              <a:rPr lang="en-US" sz="16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productive</a:t>
            </a:r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during the complete journey to becoming fully qualified. The table below provides an overview </a:t>
            </a:r>
          </a:p>
          <a:p>
            <a:r>
              <a:rPr lang="en-US" sz="1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of the expected tasks to be completed by actuarial students as they work towards full qualification. </a:t>
            </a:r>
          </a:p>
        </p:txBody>
      </p:sp>
      <p:graphicFrame>
        <p:nvGraphicFramePr>
          <p:cNvPr id="1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85390061"/>
              </p:ext>
            </p:extLst>
          </p:nvPr>
        </p:nvGraphicFramePr>
        <p:xfrm>
          <a:off x="1727336" y="1651707"/>
          <a:ext cx="7888718" cy="411908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415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21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647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9013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17138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Task / Years of Experience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07" marB="45707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1-2 Years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07" marB="45707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3-4 Years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 marL="91444" marR="91444" marT="45707" marB="45707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5-6 Years</a:t>
                      </a:r>
                    </a:p>
                  </a:txBody>
                  <a:tcPr marL="91444" marR="91444" marT="45707" marB="45707" anchor="ctr" anchorCtr="1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</a:rPr>
                        <a:t>7+ Years </a:t>
                      </a:r>
                    </a:p>
                  </a:txBody>
                  <a:tcPr marL="91444" marR="91444" marT="45707" marB="45707" anchor="ctr" anchorCtr="1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Check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&amp; Review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07" marB="45707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07" marB="45707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5488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forming Analysi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07" marB="45707"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itchFamily="34" charset="0"/>
                        <a:buNone/>
                      </a:pP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91444" marR="91444" marT="45707" marB="45707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44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fting Reports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183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wing Conclusions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f Work Performed by others students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pporting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qualified actuaries in their work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iew of Reports from Appointed Actuarie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udy Mentoring &amp;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n The Job Training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er Review of work of another Actuary</a:t>
                      </a: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4183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duct Approvals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(Life Insurance)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58923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chnical</a:t>
                      </a:r>
                      <a:r>
                        <a:rPr lang="en-US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ign-Off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2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1444" marR="91444" marT="45707" marB="4570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pic>
        <p:nvPicPr>
          <p:cNvPr id="16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240606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2736680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3481435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2828120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3427190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3079919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4166733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3120227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98453" y="2421282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98453" y="282150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240606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239012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276276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3067219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3469842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3785113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380269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448312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4821585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5181819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4476634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4164504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5567814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98453" y="2034563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205627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92229" y="2034563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965362" y="2056271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2" descr="C:\Users\jsauvageau\Desktop\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43326" y="3785113"/>
            <a:ext cx="179061" cy="18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7302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 smtClean="0"/>
              <a:t>Where do Actuaries Work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3429" y="908286"/>
            <a:ext cx="11114258" cy="5599605"/>
          </a:xfrm>
        </p:spPr>
        <p:txBody>
          <a:bodyPr>
            <a:normAutofit fontScale="70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 smtClean="0"/>
              <a:t>Insurance &amp; Reinsurance Companies: </a:t>
            </a:r>
          </a:p>
          <a:p>
            <a:pPr marL="742950" lvl="1" indent="-285750"/>
            <a:r>
              <a:rPr lang="en-US" sz="2100" dirty="0" smtClean="0"/>
              <a:t>Typically a good place to start your first job!</a:t>
            </a:r>
          </a:p>
          <a:p>
            <a:pPr marL="742950" lvl="1" indent="-285750"/>
            <a:r>
              <a:rPr lang="en-US" sz="2100" dirty="0"/>
              <a:t>They are expected to hire qualified actuaries and students in Saudi to serve the market better.</a:t>
            </a:r>
          </a:p>
          <a:p>
            <a:pPr marL="742950" lvl="1" indent="-285750"/>
            <a:r>
              <a:rPr lang="en-US" sz="2100" dirty="0" smtClean="0"/>
              <a:t>Actuarial work is usually done </a:t>
            </a:r>
            <a:r>
              <a:rPr lang="en-US" sz="2100" b="1" dirty="0" smtClean="0"/>
              <a:t>in-house</a:t>
            </a:r>
            <a:r>
              <a:rPr lang="en-US" sz="2100" dirty="0" smtClean="0"/>
              <a:t> with some support from external actuaries. </a:t>
            </a:r>
          </a:p>
          <a:p>
            <a:pPr marL="742950" lvl="1" indent="-285750"/>
            <a:r>
              <a:rPr lang="en-US" sz="2100" dirty="0" smtClean="0"/>
              <a:t>33 insurance companies Saudi</a:t>
            </a:r>
          </a:p>
          <a:p>
            <a:pPr marL="1200150" lvl="2" indent="-285750"/>
            <a:r>
              <a:rPr lang="en-US" sz="2100" dirty="0" smtClean="0"/>
              <a:t>3 Life Insurance Companies</a:t>
            </a:r>
          </a:p>
          <a:p>
            <a:pPr marL="1200150" lvl="2" indent="-285750"/>
            <a:r>
              <a:rPr lang="en-US" sz="2100" dirty="0" smtClean="0"/>
              <a:t>13 Composite Insurance Companies (Life + Non-Life)</a:t>
            </a:r>
          </a:p>
          <a:p>
            <a:pPr marL="1200150" lvl="2" indent="-285750"/>
            <a:r>
              <a:rPr lang="en-US" sz="2100" dirty="0" smtClean="0"/>
              <a:t>16 Non-Life Insurance Companies </a:t>
            </a:r>
          </a:p>
          <a:p>
            <a:pPr marL="1200150" lvl="2" indent="-285750"/>
            <a:r>
              <a:rPr lang="en-US" sz="2100" dirty="0" smtClean="0"/>
              <a:t>1 Reinsurance Compan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1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 smtClean="0"/>
              <a:t>Actuarial Consulting Firms:</a:t>
            </a:r>
          </a:p>
          <a:p>
            <a:pPr marL="742950" lvl="1" indent="-285750"/>
            <a:r>
              <a:rPr lang="en-US" sz="2100" dirty="0"/>
              <a:t>Typically a good place to start your first job</a:t>
            </a:r>
            <a:r>
              <a:rPr lang="en-US" sz="2100" dirty="0" smtClean="0"/>
              <a:t>! </a:t>
            </a:r>
            <a:endParaRPr lang="en-US" sz="2100" dirty="0"/>
          </a:p>
          <a:p>
            <a:pPr marL="742950" lvl="1" indent="-285750"/>
            <a:r>
              <a:rPr lang="en-US" sz="2100" dirty="0"/>
              <a:t>They are expected to hire qualified actuaries and students in Saudi to serve the market better.</a:t>
            </a:r>
          </a:p>
          <a:p>
            <a:pPr marL="742950" lvl="1" indent="-285750"/>
            <a:r>
              <a:rPr lang="en-US" sz="2100" dirty="0"/>
              <a:t>The main role of such companies is to </a:t>
            </a:r>
            <a:r>
              <a:rPr lang="en-US" sz="2100" b="1" dirty="0"/>
              <a:t>provide support</a:t>
            </a:r>
            <a:r>
              <a:rPr lang="en-US" sz="2100" dirty="0"/>
              <a:t> to insurance companies as an when needed.</a:t>
            </a:r>
          </a:p>
          <a:p>
            <a:pPr marL="742950" lvl="1" indent="-285750"/>
            <a:r>
              <a:rPr lang="en-US" sz="2100" dirty="0" smtClean="0"/>
              <a:t>At least 3 such companies currently with few more expected to open soon</a:t>
            </a:r>
          </a:p>
          <a:p>
            <a:pPr marL="742950" lvl="1" indent="-285750"/>
            <a:endParaRPr lang="en-US" sz="21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 smtClean="0"/>
              <a:t>Audit Firms </a:t>
            </a:r>
          </a:p>
          <a:p>
            <a:pPr marL="742950" lvl="1" indent="-285750"/>
            <a:r>
              <a:rPr lang="en-US" sz="2100" dirty="0"/>
              <a:t>Typically a good place to start your first job!</a:t>
            </a:r>
          </a:p>
          <a:p>
            <a:pPr marL="742950" lvl="1" indent="-285750"/>
            <a:r>
              <a:rPr lang="en-US" sz="2100" dirty="0" smtClean="0"/>
              <a:t>Audit firms are responsible for </a:t>
            </a:r>
            <a:r>
              <a:rPr lang="en-US" sz="2100" b="1" dirty="0" smtClean="0"/>
              <a:t>signing off </a:t>
            </a:r>
            <a:r>
              <a:rPr lang="en-US" sz="2100" dirty="0" smtClean="0"/>
              <a:t>the financial statements of insurance companies.</a:t>
            </a:r>
          </a:p>
          <a:p>
            <a:pPr marL="742950" lvl="1" indent="-285750"/>
            <a:r>
              <a:rPr lang="en-US" sz="2100" dirty="0" smtClean="0"/>
              <a:t>Audit firms are expected to hire qualified actuaries and students in Saudi to serve the market better. </a:t>
            </a:r>
            <a:endParaRPr lang="en-US" sz="21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1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100" dirty="0" smtClean="0"/>
              <a:t>Regulators, Pension Companies </a:t>
            </a:r>
            <a:r>
              <a:rPr lang="en-US" sz="2100" dirty="0" err="1" smtClean="0"/>
              <a:t>etc</a:t>
            </a:r>
            <a:endParaRPr lang="en-US" sz="2100" dirty="0" smtClean="0"/>
          </a:p>
          <a:p>
            <a:pPr marL="742950" lvl="1" indent="-285750"/>
            <a:r>
              <a:rPr lang="en-US" sz="2100" dirty="0" smtClean="0"/>
              <a:t>Usually requires some prior work experience (unless a separate department exists with qualified actuaries dedicated to develop actuarial students). </a:t>
            </a:r>
          </a:p>
          <a:p>
            <a:pPr marL="742950" lvl="1" indent="-285750"/>
            <a:endParaRPr lang="en-US" sz="2100" dirty="0" smtClean="0"/>
          </a:p>
          <a:p>
            <a:pPr>
              <a:lnSpc>
                <a:spcPct val="200000"/>
              </a:lnSpc>
            </a:pP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xmlns="" val="2113746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p:oleObj spid="_x0000_s48306" name="think-cell Slide" r:id="rId4" imgW="360" imgH="360" progId="">
              <p:embed/>
            </p:oleObj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93433" y="10160"/>
            <a:ext cx="11716304" cy="598630"/>
          </a:xfrm>
        </p:spPr>
        <p:txBody>
          <a:bodyPr/>
          <a:lstStyle/>
          <a:p>
            <a:r>
              <a:rPr lang="en-US" dirty="0" smtClean="0"/>
              <a:t>Actuarial Resources in Saudi </a:t>
            </a:r>
            <a:endParaRPr lang="x-none" dirty="0"/>
          </a:p>
        </p:txBody>
      </p:sp>
      <p:sp>
        <p:nvSpPr>
          <p:cNvPr id="43" name="Text Placeholder 2"/>
          <p:cNvSpPr txBox="1">
            <a:spLocks/>
          </p:cNvSpPr>
          <p:nvPr/>
        </p:nvSpPr>
        <p:spPr>
          <a:xfrm>
            <a:off x="505045" y="966762"/>
            <a:ext cx="5322043" cy="57239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800" b="1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Sakkal Majalla" panose="02000000000000000000" pitchFamily="2" charset="-78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/>
              <a:buChar char="•"/>
            </a:pPr>
            <a:r>
              <a:rPr lang="en-US" sz="1600" b="0" dirty="0"/>
              <a:t>The table on the right shows the number of graduates (actuarial </a:t>
            </a:r>
            <a:r>
              <a:rPr lang="en-US" sz="1600" b="0" dirty="0" smtClean="0"/>
              <a:t>science) </a:t>
            </a:r>
            <a:r>
              <a:rPr lang="en-US" sz="1600" b="0" dirty="0"/>
              <a:t>expected in the next few </a:t>
            </a:r>
            <a:r>
              <a:rPr lang="en-US" sz="1600" b="0" dirty="0" smtClean="0"/>
              <a:t>years in Saudi.</a:t>
            </a:r>
          </a:p>
          <a:p>
            <a:pPr marL="285750" indent="-285750">
              <a:buFont typeface="Arial"/>
              <a:buChar char="•"/>
            </a:pPr>
            <a:endParaRPr lang="en-US" sz="1600" b="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b="0" dirty="0"/>
              <a:t>There are total </a:t>
            </a:r>
            <a:r>
              <a:rPr lang="en-US" sz="1600" dirty="0"/>
              <a:t>63</a:t>
            </a:r>
            <a:r>
              <a:rPr lang="en-US" sz="1600" b="0" dirty="0"/>
              <a:t> Actuarial Resources currently working in Saudi Insurance market. </a:t>
            </a:r>
          </a:p>
          <a:p>
            <a:pPr lvl="1"/>
            <a:endParaRPr lang="en-US" sz="400" dirty="0">
              <a:cs typeface="Arial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>
                <a:cs typeface="Arial" pitchFamily="34" charset="0"/>
              </a:rPr>
              <a:t>Qualified Actuaries</a:t>
            </a:r>
            <a:r>
              <a:rPr lang="en-US" sz="1600" dirty="0">
                <a:cs typeface="Arial" pitchFamily="34" charset="0"/>
              </a:rPr>
              <a:t> 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en-US" sz="1600" b="1" dirty="0" smtClean="0">
                <a:cs typeface="Arial" pitchFamily="34" charset="0"/>
              </a:rPr>
              <a:t>6</a:t>
            </a:r>
            <a:r>
              <a:rPr lang="en-US" sz="1600" dirty="0" smtClean="0">
                <a:cs typeface="Arial" pitchFamily="34" charset="0"/>
              </a:rPr>
              <a:t> Qualified </a:t>
            </a:r>
            <a:r>
              <a:rPr lang="en-US" sz="1600" dirty="0">
                <a:cs typeface="Arial" pitchFamily="34" charset="0"/>
              </a:rPr>
              <a:t>(1 </a:t>
            </a:r>
            <a:r>
              <a:rPr lang="en-US" sz="1600" dirty="0" smtClean="0">
                <a:cs typeface="Arial" pitchFamily="34" charset="0"/>
              </a:rPr>
              <a:t>Saudi)</a:t>
            </a:r>
            <a:endParaRPr lang="en-US" sz="1600" dirty="0">
              <a:cs typeface="Arial" pitchFamily="34" charset="0"/>
            </a:endParaRP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>
                <a:cs typeface="Arial" pitchFamily="34" charset="0"/>
              </a:rPr>
              <a:t>Part-Qualified </a:t>
            </a:r>
            <a:r>
              <a:rPr lang="en-US" sz="1600" dirty="0">
                <a:cs typeface="Arial" pitchFamily="34" charset="0"/>
              </a:rPr>
              <a:t>	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en-US" sz="1600" b="1" dirty="0">
                <a:cs typeface="Arial" pitchFamily="34" charset="0"/>
              </a:rPr>
              <a:t>7 </a:t>
            </a:r>
            <a:r>
              <a:rPr lang="en-US" sz="1600" dirty="0">
                <a:cs typeface="Arial" pitchFamily="34" charset="0"/>
              </a:rPr>
              <a:t>Associates (1 Saudi)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>
                <a:cs typeface="Arial" pitchFamily="34" charset="0"/>
              </a:rPr>
              <a:t>Students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en-US" sz="1600" b="1" dirty="0" smtClean="0">
                <a:cs typeface="Arial" pitchFamily="34" charset="0"/>
              </a:rPr>
              <a:t>50</a:t>
            </a:r>
            <a:r>
              <a:rPr lang="en-US" sz="1600" dirty="0" smtClean="0">
                <a:cs typeface="Arial" pitchFamily="34" charset="0"/>
              </a:rPr>
              <a:t> total</a:t>
            </a:r>
            <a:endParaRPr lang="en-US" sz="1600" dirty="0">
              <a:cs typeface="Arial" pitchFamily="34" charset="0"/>
            </a:endParaRPr>
          </a:p>
          <a:p>
            <a:pPr marL="1371600" lvl="3" indent="0">
              <a:buNone/>
            </a:pPr>
            <a:r>
              <a:rPr lang="en-US" sz="1600" dirty="0">
                <a:cs typeface="Arial" pitchFamily="34" charset="0"/>
              </a:rPr>
              <a:t>	</a:t>
            </a:r>
            <a:r>
              <a:rPr lang="en-US" sz="1600" dirty="0" smtClean="0">
                <a:cs typeface="Arial" pitchFamily="34" charset="0"/>
              </a:rPr>
              <a:t>- 31 Saudi (21 </a:t>
            </a:r>
            <a:r>
              <a:rPr lang="en-US" sz="1600" dirty="0">
                <a:cs typeface="Arial" pitchFamily="34" charset="0"/>
              </a:rPr>
              <a:t>Male &amp; </a:t>
            </a:r>
            <a:r>
              <a:rPr lang="en-US" sz="1600" dirty="0" smtClean="0">
                <a:cs typeface="Arial" pitchFamily="34" charset="0"/>
              </a:rPr>
              <a:t>10 </a:t>
            </a:r>
            <a:r>
              <a:rPr lang="en-US" sz="1600" dirty="0">
                <a:cs typeface="Arial" pitchFamily="34" charset="0"/>
              </a:rPr>
              <a:t>Female)</a:t>
            </a:r>
          </a:p>
          <a:p>
            <a:pPr marL="1371600" lvl="3" indent="0">
              <a:buNone/>
            </a:pPr>
            <a:r>
              <a:rPr lang="en-US" sz="1600" dirty="0" smtClean="0">
                <a:cs typeface="Arial" pitchFamily="34" charset="0"/>
              </a:rPr>
              <a:t>	- 19 </a:t>
            </a:r>
            <a:r>
              <a:rPr lang="en-US" sz="1600" dirty="0">
                <a:cs typeface="Arial" pitchFamily="34" charset="0"/>
              </a:rPr>
              <a:t>Non-Saudis (18 Male &amp; 1 Female)</a:t>
            </a:r>
          </a:p>
          <a:p>
            <a:pPr marL="1200150" lvl="2" indent="-285750">
              <a:buFont typeface="Courier New" panose="02070309020205020404" pitchFamily="49" charset="0"/>
              <a:buChar char="o"/>
            </a:pPr>
            <a:r>
              <a:rPr lang="en-US" sz="1600" u="sng" dirty="0">
                <a:cs typeface="Arial" pitchFamily="34" charset="0"/>
              </a:rPr>
              <a:t>Overall Resources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cs typeface="Arial" pitchFamily="34" charset="0"/>
              </a:rPr>
              <a:t>33 </a:t>
            </a:r>
            <a:r>
              <a:rPr lang="en-US" sz="1600" dirty="0">
                <a:cs typeface="Arial" pitchFamily="34" charset="0"/>
              </a:rPr>
              <a:t>Saudi </a:t>
            </a:r>
          </a:p>
          <a:p>
            <a:pPr marL="1657350" lvl="3" indent="-285750">
              <a:buFont typeface="Wingdings" panose="05000000000000000000" pitchFamily="2" charset="2"/>
              <a:buChar char="§"/>
            </a:pPr>
            <a:r>
              <a:rPr lang="en-US" sz="1600" dirty="0" smtClean="0">
                <a:cs typeface="Arial" pitchFamily="34" charset="0"/>
              </a:rPr>
              <a:t>30 </a:t>
            </a:r>
            <a:r>
              <a:rPr lang="en-US" sz="1600" dirty="0">
                <a:cs typeface="Arial" pitchFamily="34" charset="0"/>
              </a:rPr>
              <a:t>Non-Saudi</a:t>
            </a:r>
          </a:p>
          <a:p>
            <a:endParaRPr lang="en-US" sz="1600" dirty="0"/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32842" y="2236867"/>
            <a:ext cx="5066215" cy="212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6496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tribution of Actuarial Resources by Departments in Saudi</a:t>
            </a:r>
            <a:endParaRPr lang="en-US" dirty="0"/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619803121"/>
              </p:ext>
            </p:extLst>
          </p:nvPr>
        </p:nvGraphicFramePr>
        <p:xfrm>
          <a:off x="1946787" y="988141"/>
          <a:ext cx="8391832" cy="514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504010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5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4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5_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lt2">
              <a:hueOff val="0"/>
              <a:satOff val="0"/>
              <a:lumOff val="0"/>
            </a:schemeClr>
          </a:solidFill>
        </a:ln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7000598A819E49807612718766FC3C" ma:contentTypeVersion="0" ma:contentTypeDescription="Create a new document." ma:contentTypeScope="" ma:versionID="c11a9e6233c5b44daca6a466879b53a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FE8CD6A6-032D-46C1-85FA-742B795BFF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BF56AB9-1D7B-4EEB-B7B0-A85AED613A9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2D2F14E-91D0-46BE-AF0B-03FA64177EC7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150</TotalTime>
  <Words>1408</Words>
  <Application>Microsoft Macintosh PowerPoint</Application>
  <PresentationFormat>Custom</PresentationFormat>
  <Paragraphs>298</Paragraphs>
  <Slides>26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3" baseType="lpstr">
      <vt:lpstr>blank</vt:lpstr>
      <vt:lpstr>1_blank</vt:lpstr>
      <vt:lpstr>2_blank</vt:lpstr>
      <vt:lpstr>3_blank</vt:lpstr>
      <vt:lpstr>4_blank</vt:lpstr>
      <vt:lpstr>5_blank</vt:lpstr>
      <vt:lpstr>think-cell Slide</vt:lpstr>
      <vt:lpstr>Slide 0</vt:lpstr>
      <vt:lpstr>Agenda</vt:lpstr>
      <vt:lpstr>Slide 2</vt:lpstr>
      <vt:lpstr>Typical Development Roadmap for an Actuary in Saudi</vt:lpstr>
      <vt:lpstr>‘Sample’ Actuarial Study Program (ASP)</vt:lpstr>
      <vt:lpstr>Benefits to Employers along the Journey</vt:lpstr>
      <vt:lpstr>Where do Actuaries Work?</vt:lpstr>
      <vt:lpstr>Actuarial Resources in Saudi </vt:lpstr>
      <vt:lpstr>Distribution of Actuarial Resources by Departments in Saudi</vt:lpstr>
      <vt:lpstr>Slide 9</vt:lpstr>
      <vt:lpstr>Insurance Market</vt:lpstr>
      <vt:lpstr>Insurance Market</vt:lpstr>
      <vt:lpstr>Slide 12</vt:lpstr>
      <vt:lpstr>Evolution of Telematics</vt:lpstr>
      <vt:lpstr>What is Telematics? </vt:lpstr>
      <vt:lpstr>What is Telematics?</vt:lpstr>
      <vt:lpstr>How this technology works?</vt:lpstr>
      <vt:lpstr>Estimated size of the global vehicle telematics market between 2014-2022</vt:lpstr>
      <vt:lpstr>What are the benefits of Telematics?</vt:lpstr>
      <vt:lpstr>Slide 19</vt:lpstr>
      <vt:lpstr>Slide 20</vt:lpstr>
      <vt:lpstr>Life Insurance Products</vt:lpstr>
      <vt:lpstr>Life Insurance Products</vt:lpstr>
      <vt:lpstr>Life Insurance Products</vt:lpstr>
      <vt:lpstr>Life Insurance Products</vt:lpstr>
      <vt:lpstr>Slide 25</vt:lpstr>
    </vt:vector>
  </TitlesOfParts>
  <Company>SAMA.gov.sa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SAMA.gov.sa</dc:creator>
  <cp:lastModifiedBy>user</cp:lastModifiedBy>
  <cp:revision>1243</cp:revision>
  <cp:lastPrinted>2018-04-10T11:37:09Z</cp:lastPrinted>
  <dcterms:created xsi:type="dcterms:W3CDTF">2012-08-11T04:42:21Z</dcterms:created>
  <dcterms:modified xsi:type="dcterms:W3CDTF">2018-04-11T10:11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  <property fmtid="{D5CDD505-2E9C-101B-9397-08002B2CF9AE}" pid="6" name="ContentTypeId">
    <vt:lpwstr>0x010100667000598A819E49807612718766FC3C</vt:lpwstr>
  </property>
</Properties>
</file>